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309" r:id="rId2"/>
    <p:sldId id="497" r:id="rId3"/>
    <p:sldId id="474" r:id="rId4"/>
    <p:sldId id="458" r:id="rId5"/>
    <p:sldId id="491" r:id="rId6"/>
    <p:sldId id="461" r:id="rId7"/>
    <p:sldId id="494" r:id="rId8"/>
    <p:sldId id="492" r:id="rId9"/>
    <p:sldId id="510" r:id="rId10"/>
    <p:sldId id="467" r:id="rId11"/>
    <p:sldId id="411" r:id="rId12"/>
    <p:sldId id="554" r:id="rId13"/>
    <p:sldId id="484" r:id="rId14"/>
    <p:sldId id="473" r:id="rId15"/>
    <p:sldId id="545" r:id="rId16"/>
    <p:sldId id="547" r:id="rId17"/>
    <p:sldId id="548" r:id="rId18"/>
    <p:sldId id="546" r:id="rId19"/>
    <p:sldId id="550" r:id="rId20"/>
    <p:sldId id="549" r:id="rId21"/>
    <p:sldId id="514" r:id="rId22"/>
    <p:sldId id="536" r:id="rId23"/>
    <p:sldId id="538" r:id="rId24"/>
    <p:sldId id="542" r:id="rId25"/>
    <p:sldId id="543" r:id="rId26"/>
    <p:sldId id="520" r:id="rId27"/>
    <p:sldId id="509" r:id="rId28"/>
    <p:sldId id="523" r:id="rId29"/>
    <p:sldId id="544" r:id="rId30"/>
    <p:sldId id="556" r:id="rId31"/>
    <p:sldId id="555" r:id="rId32"/>
    <p:sldId id="551" r:id="rId33"/>
    <p:sldId id="552" r:id="rId34"/>
    <p:sldId id="553" r:id="rId35"/>
  </p:sldIdLst>
  <p:sldSz cx="9144000" cy="6858000" type="screen4x3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42">
          <p15:clr>
            <a:srgbClr val="A4A3A4"/>
          </p15:clr>
        </p15:guide>
        <p15:guide id="2" orient="horz" pos="255">
          <p15:clr>
            <a:srgbClr val="A4A3A4"/>
          </p15:clr>
        </p15:guide>
        <p15:guide id="3" orient="horz" pos="2001">
          <p15:clr>
            <a:srgbClr val="A4A3A4"/>
          </p15:clr>
        </p15:guide>
        <p15:guide id="4" orient="horz" pos="3929">
          <p15:clr>
            <a:srgbClr val="A4A3A4"/>
          </p15:clr>
        </p15:guide>
        <p15:guide id="5" orient="horz" pos="4110">
          <p15:clr>
            <a:srgbClr val="A4A3A4"/>
          </p15:clr>
        </p15:guide>
        <p15:guide id="6" orient="horz" pos="142">
          <p15:clr>
            <a:srgbClr val="A4A3A4"/>
          </p15:clr>
        </p15:guide>
        <p15:guide id="7" orient="horz" pos="4178">
          <p15:clr>
            <a:srgbClr val="A4A3A4"/>
          </p15:clr>
        </p15:guide>
        <p15:guide id="8" pos="272">
          <p15:clr>
            <a:srgbClr val="A4A3A4"/>
          </p15:clr>
        </p15:guide>
        <p15:guide id="9" pos="5488">
          <p15:clr>
            <a:srgbClr val="A4A3A4"/>
          </p15:clr>
        </p15:guide>
        <p15:guide id="10" pos="2903">
          <p15:clr>
            <a:srgbClr val="A4A3A4"/>
          </p15:clr>
        </p15:guide>
        <p15:guide id="11" pos="2880">
          <p15:clr>
            <a:srgbClr val="A4A3A4"/>
          </p15:clr>
        </p15:guide>
        <p15:guide id="12" pos="2925">
          <p15:clr>
            <a:srgbClr val="A4A3A4"/>
          </p15:clr>
        </p15:guide>
        <p15:guide id="13" pos="2970">
          <p15:clr>
            <a:srgbClr val="A4A3A4"/>
          </p15:clr>
        </p15:guide>
        <p15:guide id="14" pos="3379">
          <p15:clr>
            <a:srgbClr val="A4A3A4"/>
          </p15:clr>
        </p15:guide>
        <p15:guide id="15" pos="3719">
          <p15:clr>
            <a:srgbClr val="A4A3A4"/>
          </p15:clr>
        </p15:guide>
        <p15:guide id="16" pos="3810">
          <p15:clr>
            <a:srgbClr val="A4A3A4"/>
          </p15:clr>
        </p15:guide>
        <p15:guide id="17" pos="4173">
          <p15:clr>
            <a:srgbClr val="A4A3A4"/>
          </p15:clr>
        </p15:guide>
        <p15:guide id="18" pos="4263">
          <p15:clr>
            <a:srgbClr val="A4A3A4"/>
          </p15:clr>
        </p15:guide>
        <p15:guide id="19" pos="4604">
          <p15:clr>
            <a:srgbClr val="A4A3A4"/>
          </p15:clr>
        </p15:guide>
        <p15:guide id="20" pos="4694">
          <p15:clr>
            <a:srgbClr val="A4A3A4"/>
          </p15:clr>
        </p15:guide>
        <p15:guide id="21" pos="5057">
          <p15:clr>
            <a:srgbClr val="A4A3A4"/>
          </p15:clr>
        </p15:guide>
        <p15:guide id="22" pos="5148">
          <p15:clr>
            <a:srgbClr val="A4A3A4"/>
          </p15:clr>
        </p15:guide>
        <p15:guide id="23" pos="2472">
          <p15:clr>
            <a:srgbClr val="A4A3A4"/>
          </p15:clr>
        </p15:guide>
        <p15:guide id="24" pos="2381">
          <p15:clr>
            <a:srgbClr val="A4A3A4"/>
          </p15:clr>
        </p15:guide>
        <p15:guide id="25" pos="2041">
          <p15:clr>
            <a:srgbClr val="A4A3A4"/>
          </p15:clr>
        </p15:guide>
        <p15:guide id="26" pos="1950">
          <p15:clr>
            <a:srgbClr val="A4A3A4"/>
          </p15:clr>
        </p15:guide>
        <p15:guide id="27" pos="1587">
          <p15:clr>
            <a:srgbClr val="A4A3A4"/>
          </p15:clr>
        </p15:guide>
        <p15:guide id="28" pos="1497">
          <p15:clr>
            <a:srgbClr val="A4A3A4"/>
          </p15:clr>
        </p15:guide>
        <p15:guide id="29" pos="1156">
          <p15:clr>
            <a:srgbClr val="A4A3A4"/>
          </p15:clr>
        </p15:guide>
        <p15:guide id="30" pos="1066">
          <p15:clr>
            <a:srgbClr val="A4A3A4"/>
          </p15:clr>
        </p15:guide>
        <p15:guide id="31" pos="703">
          <p15:clr>
            <a:srgbClr val="A4A3A4"/>
          </p15:clr>
        </p15:guide>
        <p15:guide id="32" pos="612">
          <p15:clr>
            <a:srgbClr val="A4A3A4"/>
          </p15:clr>
        </p15:guide>
        <p15:guide id="33" pos="136">
          <p15:clr>
            <a:srgbClr val="A4A3A4"/>
          </p15:clr>
        </p15:guide>
        <p15:guide id="34" pos="562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AFBD"/>
    <a:srgbClr val="CEFED1"/>
    <a:srgbClr val="1EA5A5"/>
    <a:srgbClr val="E8E9E8"/>
    <a:srgbClr val="E2FEE4"/>
    <a:srgbClr val="D7B01D"/>
    <a:srgbClr val="FFFFFF"/>
    <a:srgbClr val="000000"/>
    <a:srgbClr val="006E6E"/>
    <a:srgbClr val="BEC3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E25E649-3F16-4E02-A733-19D2CDBF48F0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20"/>
    <p:restoredTop sz="84889" autoAdjust="0"/>
  </p:normalViewPr>
  <p:slideViewPr>
    <p:cSldViewPr snapToObjects="1" showGuides="1">
      <p:cViewPr varScale="1">
        <p:scale>
          <a:sx n="83" d="100"/>
          <a:sy n="83" d="100"/>
        </p:scale>
        <p:origin x="1036" y="52"/>
      </p:cViewPr>
      <p:guideLst>
        <p:guide orient="horz" pos="4042"/>
        <p:guide orient="horz" pos="255"/>
        <p:guide orient="horz" pos="2001"/>
        <p:guide orient="horz" pos="3929"/>
        <p:guide orient="horz" pos="4110"/>
        <p:guide orient="horz" pos="142"/>
        <p:guide orient="horz" pos="4178"/>
        <p:guide pos="272"/>
        <p:guide pos="5488"/>
        <p:guide pos="2903"/>
        <p:guide pos="2880"/>
        <p:guide pos="2925"/>
        <p:guide pos="2970"/>
        <p:guide pos="3379"/>
        <p:guide pos="3719"/>
        <p:guide pos="3810"/>
        <p:guide pos="4173"/>
        <p:guide pos="4263"/>
        <p:guide pos="4604"/>
        <p:guide pos="4694"/>
        <p:guide pos="5057"/>
        <p:guide pos="5148"/>
        <p:guide pos="2472"/>
        <p:guide pos="2381"/>
        <p:guide pos="2041"/>
        <p:guide pos="1950"/>
        <p:guide pos="1587"/>
        <p:guide pos="1497"/>
        <p:guide pos="1156"/>
        <p:guide pos="1066"/>
        <p:guide pos="703"/>
        <p:guide pos="612"/>
        <p:guide pos="136"/>
        <p:guide pos="562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D23B3F-72F8-B64E-A568-739050E1AD48}" type="datetimeFigureOut">
              <a:rPr lang="de-DE" smtClean="0"/>
              <a:t>21.11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79701-025B-2A4A-8128-4D14CCDD5A7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71328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484FEB8E-57CB-43C0-BEF7-4F4116A5252C}" type="datetimeFigureOut">
              <a:rPr lang="de-CH" smtClean="0"/>
              <a:t>21.11.2017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DA53D58F-CC03-47C4-AC79-D3C984A61519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7838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3D58F-CC03-47C4-AC79-D3C984A61519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20054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E707A1F-8045-2543-B962-AF4BDAF19CFE}" type="slidenum">
              <a:rPr lang="de-DE" altLang="de-DE"/>
              <a:pPr/>
              <a:t>34</a:t>
            </a:fld>
            <a:endParaRPr lang="de-DE" altLang="de-DE"/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64010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3D58F-CC03-47C4-AC79-D3C984A61519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708332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3D58F-CC03-47C4-AC79-D3C984A61519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2449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3D58F-CC03-47C4-AC79-D3C984A61519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1214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Ordinal</a:t>
            </a:r>
            <a:r>
              <a:rPr lang="de-DE" dirty="0" smtClean="0"/>
              <a:t> </a:t>
            </a:r>
            <a:r>
              <a:rPr lang="de-DE" dirty="0" err="1" smtClean="0"/>
              <a:t>regress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3D58F-CC03-47C4-AC79-D3C984A61519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576134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Ordinal</a:t>
            </a:r>
            <a:r>
              <a:rPr lang="de-DE" dirty="0" smtClean="0"/>
              <a:t> </a:t>
            </a:r>
            <a:r>
              <a:rPr lang="de-DE" dirty="0" err="1" smtClean="0"/>
              <a:t>regress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3D58F-CC03-47C4-AC79-D3C984A61519}" type="slidenum">
              <a:rPr lang="de-CH" smtClean="0"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927751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3D58F-CC03-47C4-AC79-D3C984A61519}" type="slidenum">
              <a:rPr lang="de-CH" smtClean="0"/>
              <a:t>2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249960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3D58F-CC03-47C4-AC79-D3C984A61519}" type="slidenum">
              <a:rPr lang="de-CH" smtClean="0"/>
              <a:t>3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445771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3D58F-CC03-47C4-AC79-D3C984A61519}" type="slidenum">
              <a:rPr lang="de-CH" smtClean="0"/>
              <a:t>3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38941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225423"/>
            <a:ext cx="8928100" cy="48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71550" y="1376363"/>
            <a:ext cx="7772400" cy="1044526"/>
          </a:xfrm>
        </p:spPr>
        <p:txBody>
          <a:bodyPr/>
          <a:lstStyle>
            <a:lvl1pPr>
              <a:lnSpc>
                <a:spcPts val="4000"/>
              </a:lnSpc>
              <a:defRPr sz="3600"/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971550" y="2564904"/>
            <a:ext cx="6800850" cy="324036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dirty="0" smtClean="0"/>
              <a:t>Autor, DD.MM.YY</a:t>
            </a:r>
            <a:endParaRPr lang="de-CH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51" y="382946"/>
            <a:ext cx="1628546" cy="56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6751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E1A90-5953-7149-B802-BFD3484692A2}" type="datetime1">
              <a:rPr lang="de-CH" smtClean="0"/>
              <a:t>21.11.2017</a:t>
            </a:fld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1834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bschnittsüberschri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de-CH" smtClean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CH" smtClean="0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CF795-CBF3-8943-900D-97636FFBFAF4}" type="datetime1">
              <a:rPr lang="de-CH" smtClean="0"/>
              <a:t>21.11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RR &amp; Affect 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F16DE-A0D5-4438-950F-5B1E159C2C28}" type="slidenum">
              <a:rPr lang="en-US" smtClean="0"/>
              <a:t>‹Nr.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7932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225425"/>
            <a:ext cx="8928100" cy="2771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71550" y="1376363"/>
            <a:ext cx="7772400" cy="1044526"/>
          </a:xfrm>
        </p:spPr>
        <p:txBody>
          <a:bodyPr/>
          <a:lstStyle>
            <a:lvl1pPr>
              <a:lnSpc>
                <a:spcPts val="4000"/>
              </a:lnSpc>
              <a:defRPr sz="3600"/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971550" y="2564904"/>
            <a:ext cx="6800850" cy="324036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dirty="0" smtClean="0"/>
              <a:t>Autor, DD.MM.YY</a:t>
            </a:r>
            <a:endParaRPr lang="de-CH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51" y="382946"/>
            <a:ext cx="1628546" cy="568757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215900" y="2997200"/>
            <a:ext cx="8712200" cy="3635375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24098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  <a:lvl2pPr>
              <a:lnSpc>
                <a:spcPts val="2200"/>
              </a:lnSpc>
              <a:defRPr/>
            </a:lvl2pPr>
            <a:lvl3pPr>
              <a:lnSpc>
                <a:spcPts val="2200"/>
              </a:lnSpc>
              <a:defRPr/>
            </a:lvl3pPr>
            <a:lvl4pPr>
              <a:lnSpc>
                <a:spcPts val="2200"/>
              </a:lnSpc>
              <a:defRPr/>
            </a:lvl4pPr>
            <a:lvl5pPr>
              <a:lnSpc>
                <a:spcPts val="2200"/>
              </a:lnSpc>
              <a:defRPr/>
            </a:lvl5pPr>
          </a:lstStyle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ED7B0-077D-414E-BB90-81DB9AF9052C}" type="datetime1">
              <a:rPr lang="de-CH" smtClean="0"/>
              <a:t>21.11.2017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316853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0BE32-AFBB-9246-8333-7865129ADC79}" type="datetime1">
              <a:rPr lang="de-CH" smtClean="0"/>
              <a:t>21.11.2017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31800" y="1520824"/>
            <a:ext cx="6192838" cy="3960000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767513" y="1520825"/>
            <a:ext cx="1944687" cy="47164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15345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7F8C0-CC42-3B4B-AD46-9DFFBC9BC427}" type="datetime1">
              <a:rPr lang="de-CH" smtClean="0"/>
              <a:t>21.11.2017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31799" y="1520824"/>
            <a:ext cx="4068763" cy="2592000"/>
          </a:xfrm>
        </p:spPr>
        <p:txBody>
          <a:bodyPr/>
          <a:lstStyle/>
          <a:p>
            <a:endParaRPr lang="de-CH"/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643437" y="1520825"/>
            <a:ext cx="4068763" cy="2592000"/>
          </a:xfrm>
        </p:spPr>
        <p:txBody>
          <a:bodyPr/>
          <a:lstStyle/>
          <a:p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31800" y="4221088"/>
            <a:ext cx="4068763" cy="183618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4643437" y="4221088"/>
            <a:ext cx="4068763" cy="183618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6359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68E51-4E9F-1549-B256-5834140A0153}" type="datetime1">
              <a:rPr lang="de-CH" smtClean="0"/>
              <a:t>21.11.2017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31800" y="1520824"/>
            <a:ext cx="2663826" cy="3276000"/>
          </a:xfrm>
        </p:spPr>
        <p:txBody>
          <a:bodyPr/>
          <a:lstStyle/>
          <a:p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31800" y="4901714"/>
            <a:ext cx="2663825" cy="115555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6"/>
          </p:nvPr>
        </p:nvSpPr>
        <p:spPr>
          <a:xfrm>
            <a:off x="3240088" y="1520825"/>
            <a:ext cx="2663826" cy="3276000"/>
          </a:xfrm>
        </p:spPr>
        <p:txBody>
          <a:bodyPr/>
          <a:lstStyle/>
          <a:p>
            <a:endParaRPr lang="de-CH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3240088" y="4901715"/>
            <a:ext cx="2663825" cy="115555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8"/>
          </p:nvPr>
        </p:nvSpPr>
        <p:spPr>
          <a:xfrm>
            <a:off x="6048374" y="1524273"/>
            <a:ext cx="2663826" cy="3276000"/>
          </a:xfrm>
        </p:spPr>
        <p:txBody>
          <a:bodyPr/>
          <a:lstStyle/>
          <a:p>
            <a:endParaRPr lang="de-CH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9"/>
          </p:nvPr>
        </p:nvSpPr>
        <p:spPr>
          <a:xfrm>
            <a:off x="6048374" y="4905163"/>
            <a:ext cx="2663825" cy="115555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65054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(gro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47F24E-C9FE-D044-9819-41077A4FBCAD}" type="datetime1">
              <a:rPr lang="de-CH" smtClean="0"/>
              <a:t>21.11.2017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31800" y="404813"/>
            <a:ext cx="8280400" cy="5112000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31801" y="5625244"/>
            <a:ext cx="8280400" cy="61204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012460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(Vollfläch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05280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B66DF-B5B5-5A43-874B-67E492497D22}" type="datetime1">
              <a:rPr lang="de-CH" smtClean="0"/>
              <a:t>21.11.2017</a:t>
            </a:fld>
            <a:endParaRPr lang="de-CH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0324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31800" y="404813"/>
            <a:ext cx="8280400" cy="7559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520826"/>
            <a:ext cx="82802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31800" y="6524626"/>
            <a:ext cx="2159000" cy="180000"/>
          </a:xfrm>
          <a:prstGeom prst="rect">
            <a:avLst/>
          </a:prstGeom>
        </p:spPr>
        <p:txBody>
          <a:bodyPr vert="horz" lIns="0" tIns="21600" rIns="0" bIns="0" rtlCol="0" anchor="t" anchorCtr="0"/>
          <a:lstStyle>
            <a:lvl1pPr algn="l">
              <a:defRPr sz="600">
                <a:solidFill>
                  <a:schemeClr val="tx1"/>
                </a:solidFill>
                <a:latin typeface="Andale Mono"/>
                <a:cs typeface="Andale Mono"/>
              </a:defRPr>
            </a:lvl1pPr>
          </a:lstStyle>
          <a:p>
            <a:fld id="{76307AED-9442-5247-9C38-BBFB881174C3}" type="datetime1">
              <a:rPr lang="de-CH" smtClean="0"/>
              <a:t>21.11.2017</a:t>
            </a:fld>
            <a:endParaRPr lang="de-CH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660232" y="6525344"/>
            <a:ext cx="1908212" cy="180000"/>
          </a:xfrm>
          <a:prstGeom prst="rect">
            <a:avLst/>
          </a:prstGeom>
        </p:spPr>
        <p:txBody>
          <a:bodyPr vert="horz" lIns="0" tIns="21600" rIns="0" bIns="0" rtlCol="0" anchor="t" anchorCtr="0"/>
          <a:lstStyle>
            <a:lvl1pPr algn="ctr">
              <a:defRPr sz="600" b="1">
                <a:solidFill>
                  <a:schemeClr val="tx1"/>
                </a:solidFill>
                <a:latin typeface="Andale Mono"/>
                <a:cs typeface="Andale Mono"/>
              </a:defRPr>
            </a:lvl1pPr>
          </a:lstStyle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568444" y="6525344"/>
            <a:ext cx="143756" cy="180000"/>
          </a:xfrm>
          <a:prstGeom prst="rect">
            <a:avLst/>
          </a:prstGeom>
        </p:spPr>
        <p:txBody>
          <a:bodyPr vert="horz" lIns="0" tIns="21600" rIns="0" bIns="0" rtlCol="0" anchor="t" anchorCtr="0"/>
          <a:lstStyle>
            <a:lvl1pPr algn="r">
              <a:defRPr sz="600">
                <a:solidFill>
                  <a:schemeClr val="tx1"/>
                </a:solidFill>
                <a:latin typeface="Andale Mono"/>
                <a:cs typeface="Andale Mono"/>
              </a:defRPr>
            </a:lvl1pPr>
          </a:lstStyle>
          <a:p>
            <a:fld id="{B3811826-9277-4232-A2B5-17D05DFC7392}" type="slidenum">
              <a:rPr lang="de-CH" smtClean="0"/>
              <a:pPr/>
              <a:t>‹Nr.›</a:t>
            </a:fld>
            <a:endParaRPr lang="de-CH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32000" y="6453188"/>
            <a:ext cx="82802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07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0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54" r:id="rId9"/>
    <p:sldLayoutId id="2147483655" r:id="rId10"/>
    <p:sldLayoutId id="2147483663" r:id="rId11"/>
  </p:sldLayoutIdLst>
  <p:hf hdr="0" dt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300" b="1" kern="1200">
          <a:solidFill>
            <a:schemeClr val="tx1"/>
          </a:solidFill>
          <a:latin typeface="Andale Mono"/>
          <a:ea typeface="+mj-ea"/>
          <a:cs typeface="Andale Mono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ndale Mono"/>
          <a:ea typeface="+mn-ea"/>
          <a:cs typeface="Andale Mono"/>
        </a:defRPr>
      </a:lvl1pPr>
      <a:lvl2pPr marL="180000" indent="-1800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Andale Mono"/>
          <a:ea typeface="+mn-ea"/>
          <a:cs typeface="Andale Mono"/>
        </a:defRPr>
      </a:lvl2pPr>
      <a:lvl3pPr marL="360000" indent="-1800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Andale Mono"/>
          <a:ea typeface="+mn-ea"/>
          <a:cs typeface="Andale Mono"/>
        </a:defRPr>
      </a:lvl3pPr>
      <a:lvl4pPr marL="540000" indent="-1800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Andale Mono"/>
          <a:ea typeface="+mn-ea"/>
          <a:cs typeface="Andale Mono"/>
        </a:defRPr>
      </a:lvl4pPr>
      <a:lvl5pPr marL="720000" indent="-1800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Andale Mono"/>
          <a:ea typeface="+mn-ea"/>
          <a:cs typeface="Andale Mono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slideLayout" Target="../slideLayouts/slideLayout3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tif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17" Type="http://schemas.openxmlformats.org/officeDocument/2006/relationships/tags" Target="../tags/tag495.xml"/><Relationship Id="rId299" Type="http://schemas.openxmlformats.org/officeDocument/2006/relationships/tags" Target="../tags/tag677.xml"/><Relationship Id="rId21" Type="http://schemas.openxmlformats.org/officeDocument/2006/relationships/tags" Target="../tags/tag399.xml"/><Relationship Id="rId63" Type="http://schemas.openxmlformats.org/officeDocument/2006/relationships/tags" Target="../tags/tag441.xml"/><Relationship Id="rId159" Type="http://schemas.openxmlformats.org/officeDocument/2006/relationships/tags" Target="../tags/tag537.xml"/><Relationship Id="rId324" Type="http://schemas.openxmlformats.org/officeDocument/2006/relationships/tags" Target="../tags/tag702.xml"/><Relationship Id="rId366" Type="http://schemas.openxmlformats.org/officeDocument/2006/relationships/tags" Target="../tags/tag744.xml"/><Relationship Id="rId170" Type="http://schemas.openxmlformats.org/officeDocument/2006/relationships/tags" Target="../tags/tag548.xml"/><Relationship Id="rId226" Type="http://schemas.openxmlformats.org/officeDocument/2006/relationships/tags" Target="../tags/tag604.xml"/><Relationship Id="rId268" Type="http://schemas.openxmlformats.org/officeDocument/2006/relationships/tags" Target="../tags/tag646.xml"/><Relationship Id="rId32" Type="http://schemas.openxmlformats.org/officeDocument/2006/relationships/tags" Target="../tags/tag410.xml"/><Relationship Id="rId74" Type="http://schemas.openxmlformats.org/officeDocument/2006/relationships/tags" Target="../tags/tag452.xml"/><Relationship Id="rId128" Type="http://schemas.openxmlformats.org/officeDocument/2006/relationships/tags" Target="../tags/tag506.xml"/><Relationship Id="rId335" Type="http://schemas.openxmlformats.org/officeDocument/2006/relationships/tags" Target="../tags/tag713.xml"/><Relationship Id="rId377" Type="http://schemas.openxmlformats.org/officeDocument/2006/relationships/tags" Target="../tags/tag755.xml"/><Relationship Id="rId5" Type="http://schemas.openxmlformats.org/officeDocument/2006/relationships/tags" Target="../tags/tag383.xml"/><Relationship Id="rId181" Type="http://schemas.openxmlformats.org/officeDocument/2006/relationships/tags" Target="../tags/tag559.xml"/><Relationship Id="rId237" Type="http://schemas.openxmlformats.org/officeDocument/2006/relationships/tags" Target="../tags/tag615.xml"/><Relationship Id="rId279" Type="http://schemas.openxmlformats.org/officeDocument/2006/relationships/tags" Target="../tags/tag657.xml"/><Relationship Id="rId43" Type="http://schemas.openxmlformats.org/officeDocument/2006/relationships/tags" Target="../tags/tag421.xml"/><Relationship Id="rId139" Type="http://schemas.openxmlformats.org/officeDocument/2006/relationships/tags" Target="../tags/tag517.xml"/><Relationship Id="rId290" Type="http://schemas.openxmlformats.org/officeDocument/2006/relationships/tags" Target="../tags/tag668.xml"/><Relationship Id="rId304" Type="http://schemas.openxmlformats.org/officeDocument/2006/relationships/tags" Target="../tags/tag682.xml"/><Relationship Id="rId346" Type="http://schemas.openxmlformats.org/officeDocument/2006/relationships/tags" Target="../tags/tag724.xml"/><Relationship Id="rId85" Type="http://schemas.openxmlformats.org/officeDocument/2006/relationships/tags" Target="../tags/tag463.xml"/><Relationship Id="rId150" Type="http://schemas.openxmlformats.org/officeDocument/2006/relationships/tags" Target="../tags/tag528.xml"/><Relationship Id="rId192" Type="http://schemas.openxmlformats.org/officeDocument/2006/relationships/tags" Target="../tags/tag570.xml"/><Relationship Id="rId206" Type="http://schemas.openxmlformats.org/officeDocument/2006/relationships/tags" Target="../tags/tag584.xml"/><Relationship Id="rId248" Type="http://schemas.openxmlformats.org/officeDocument/2006/relationships/tags" Target="../tags/tag626.xml"/><Relationship Id="rId12" Type="http://schemas.openxmlformats.org/officeDocument/2006/relationships/tags" Target="../tags/tag390.xml"/><Relationship Id="rId108" Type="http://schemas.openxmlformats.org/officeDocument/2006/relationships/tags" Target="../tags/tag486.xml"/><Relationship Id="rId315" Type="http://schemas.openxmlformats.org/officeDocument/2006/relationships/tags" Target="../tags/tag693.xml"/><Relationship Id="rId357" Type="http://schemas.openxmlformats.org/officeDocument/2006/relationships/tags" Target="../tags/tag735.xml"/><Relationship Id="rId54" Type="http://schemas.openxmlformats.org/officeDocument/2006/relationships/tags" Target="../tags/tag432.xml"/><Relationship Id="rId96" Type="http://schemas.openxmlformats.org/officeDocument/2006/relationships/tags" Target="../tags/tag474.xml"/><Relationship Id="rId161" Type="http://schemas.openxmlformats.org/officeDocument/2006/relationships/tags" Target="../tags/tag539.xml"/><Relationship Id="rId217" Type="http://schemas.openxmlformats.org/officeDocument/2006/relationships/tags" Target="../tags/tag595.xml"/><Relationship Id="rId259" Type="http://schemas.openxmlformats.org/officeDocument/2006/relationships/tags" Target="../tags/tag637.xml"/><Relationship Id="rId23" Type="http://schemas.openxmlformats.org/officeDocument/2006/relationships/tags" Target="../tags/tag401.xml"/><Relationship Id="rId119" Type="http://schemas.openxmlformats.org/officeDocument/2006/relationships/tags" Target="../tags/tag497.xml"/><Relationship Id="rId270" Type="http://schemas.openxmlformats.org/officeDocument/2006/relationships/tags" Target="../tags/tag648.xml"/><Relationship Id="rId326" Type="http://schemas.openxmlformats.org/officeDocument/2006/relationships/tags" Target="../tags/tag704.xml"/><Relationship Id="rId65" Type="http://schemas.openxmlformats.org/officeDocument/2006/relationships/tags" Target="../tags/tag443.xml"/><Relationship Id="rId130" Type="http://schemas.openxmlformats.org/officeDocument/2006/relationships/tags" Target="../tags/tag508.xml"/><Relationship Id="rId368" Type="http://schemas.openxmlformats.org/officeDocument/2006/relationships/tags" Target="../tags/tag746.xml"/><Relationship Id="rId172" Type="http://schemas.openxmlformats.org/officeDocument/2006/relationships/tags" Target="../tags/tag550.xml"/><Relationship Id="rId228" Type="http://schemas.openxmlformats.org/officeDocument/2006/relationships/tags" Target="../tags/tag606.xml"/><Relationship Id="rId281" Type="http://schemas.openxmlformats.org/officeDocument/2006/relationships/tags" Target="../tags/tag659.xml"/><Relationship Id="rId337" Type="http://schemas.openxmlformats.org/officeDocument/2006/relationships/tags" Target="../tags/tag715.xml"/><Relationship Id="rId34" Type="http://schemas.openxmlformats.org/officeDocument/2006/relationships/tags" Target="../tags/tag412.xml"/><Relationship Id="rId76" Type="http://schemas.openxmlformats.org/officeDocument/2006/relationships/tags" Target="../tags/tag454.xml"/><Relationship Id="rId141" Type="http://schemas.openxmlformats.org/officeDocument/2006/relationships/tags" Target="../tags/tag519.xml"/><Relationship Id="rId379" Type="http://schemas.openxmlformats.org/officeDocument/2006/relationships/slideLayout" Target="../slideLayouts/slideLayout10.xml"/><Relationship Id="rId7" Type="http://schemas.openxmlformats.org/officeDocument/2006/relationships/tags" Target="../tags/tag385.xml"/><Relationship Id="rId183" Type="http://schemas.openxmlformats.org/officeDocument/2006/relationships/tags" Target="../tags/tag561.xml"/><Relationship Id="rId239" Type="http://schemas.openxmlformats.org/officeDocument/2006/relationships/tags" Target="../tags/tag617.xml"/><Relationship Id="rId250" Type="http://schemas.openxmlformats.org/officeDocument/2006/relationships/tags" Target="../tags/tag628.xml"/><Relationship Id="rId292" Type="http://schemas.openxmlformats.org/officeDocument/2006/relationships/tags" Target="../tags/tag670.xml"/><Relationship Id="rId306" Type="http://schemas.openxmlformats.org/officeDocument/2006/relationships/tags" Target="../tags/tag684.xml"/><Relationship Id="rId45" Type="http://schemas.openxmlformats.org/officeDocument/2006/relationships/tags" Target="../tags/tag423.xml"/><Relationship Id="rId87" Type="http://schemas.openxmlformats.org/officeDocument/2006/relationships/tags" Target="../tags/tag465.xml"/><Relationship Id="rId110" Type="http://schemas.openxmlformats.org/officeDocument/2006/relationships/tags" Target="../tags/tag488.xml"/><Relationship Id="rId348" Type="http://schemas.openxmlformats.org/officeDocument/2006/relationships/tags" Target="../tags/tag726.xml"/><Relationship Id="rId152" Type="http://schemas.openxmlformats.org/officeDocument/2006/relationships/tags" Target="../tags/tag530.xml"/><Relationship Id="rId194" Type="http://schemas.openxmlformats.org/officeDocument/2006/relationships/tags" Target="../tags/tag572.xml"/><Relationship Id="rId208" Type="http://schemas.openxmlformats.org/officeDocument/2006/relationships/tags" Target="../tags/tag586.xml"/><Relationship Id="rId261" Type="http://schemas.openxmlformats.org/officeDocument/2006/relationships/tags" Target="../tags/tag639.xml"/><Relationship Id="rId14" Type="http://schemas.openxmlformats.org/officeDocument/2006/relationships/tags" Target="../tags/tag392.xml"/><Relationship Id="rId56" Type="http://schemas.openxmlformats.org/officeDocument/2006/relationships/tags" Target="../tags/tag434.xml"/><Relationship Id="rId317" Type="http://schemas.openxmlformats.org/officeDocument/2006/relationships/tags" Target="../tags/tag695.xml"/><Relationship Id="rId359" Type="http://schemas.openxmlformats.org/officeDocument/2006/relationships/tags" Target="../tags/tag737.xml"/><Relationship Id="rId98" Type="http://schemas.openxmlformats.org/officeDocument/2006/relationships/tags" Target="../tags/tag476.xml"/><Relationship Id="rId121" Type="http://schemas.openxmlformats.org/officeDocument/2006/relationships/tags" Target="../tags/tag499.xml"/><Relationship Id="rId163" Type="http://schemas.openxmlformats.org/officeDocument/2006/relationships/tags" Target="../tags/tag541.xml"/><Relationship Id="rId219" Type="http://schemas.openxmlformats.org/officeDocument/2006/relationships/tags" Target="../tags/tag597.xml"/><Relationship Id="rId370" Type="http://schemas.openxmlformats.org/officeDocument/2006/relationships/tags" Target="../tags/tag748.xml"/><Relationship Id="rId230" Type="http://schemas.openxmlformats.org/officeDocument/2006/relationships/tags" Target="../tags/tag608.xml"/><Relationship Id="rId25" Type="http://schemas.openxmlformats.org/officeDocument/2006/relationships/tags" Target="../tags/tag403.xml"/><Relationship Id="rId67" Type="http://schemas.openxmlformats.org/officeDocument/2006/relationships/tags" Target="../tags/tag445.xml"/><Relationship Id="rId272" Type="http://schemas.openxmlformats.org/officeDocument/2006/relationships/tags" Target="../tags/tag650.xml"/><Relationship Id="rId328" Type="http://schemas.openxmlformats.org/officeDocument/2006/relationships/tags" Target="../tags/tag706.xml"/><Relationship Id="rId132" Type="http://schemas.openxmlformats.org/officeDocument/2006/relationships/tags" Target="../tags/tag510.xml"/><Relationship Id="rId174" Type="http://schemas.openxmlformats.org/officeDocument/2006/relationships/tags" Target="../tags/tag552.xml"/><Relationship Id="rId241" Type="http://schemas.openxmlformats.org/officeDocument/2006/relationships/tags" Target="../tags/tag619.xml"/><Relationship Id="rId36" Type="http://schemas.openxmlformats.org/officeDocument/2006/relationships/tags" Target="../tags/tag414.xml"/><Relationship Id="rId283" Type="http://schemas.openxmlformats.org/officeDocument/2006/relationships/tags" Target="../tags/tag661.xml"/><Relationship Id="rId339" Type="http://schemas.openxmlformats.org/officeDocument/2006/relationships/tags" Target="../tags/tag717.xml"/><Relationship Id="rId78" Type="http://schemas.openxmlformats.org/officeDocument/2006/relationships/tags" Target="../tags/tag456.xml"/><Relationship Id="rId101" Type="http://schemas.openxmlformats.org/officeDocument/2006/relationships/tags" Target="../tags/tag479.xml"/><Relationship Id="rId143" Type="http://schemas.openxmlformats.org/officeDocument/2006/relationships/tags" Target="../tags/tag521.xml"/><Relationship Id="rId185" Type="http://schemas.openxmlformats.org/officeDocument/2006/relationships/tags" Target="../tags/tag563.xml"/><Relationship Id="rId350" Type="http://schemas.openxmlformats.org/officeDocument/2006/relationships/tags" Target="../tags/tag728.xml"/><Relationship Id="rId9" Type="http://schemas.openxmlformats.org/officeDocument/2006/relationships/tags" Target="../tags/tag387.xml"/><Relationship Id="rId210" Type="http://schemas.openxmlformats.org/officeDocument/2006/relationships/tags" Target="../tags/tag588.xml"/><Relationship Id="rId26" Type="http://schemas.openxmlformats.org/officeDocument/2006/relationships/tags" Target="../tags/tag404.xml"/><Relationship Id="rId231" Type="http://schemas.openxmlformats.org/officeDocument/2006/relationships/tags" Target="../tags/tag609.xml"/><Relationship Id="rId252" Type="http://schemas.openxmlformats.org/officeDocument/2006/relationships/tags" Target="../tags/tag630.xml"/><Relationship Id="rId273" Type="http://schemas.openxmlformats.org/officeDocument/2006/relationships/tags" Target="../tags/tag651.xml"/><Relationship Id="rId294" Type="http://schemas.openxmlformats.org/officeDocument/2006/relationships/tags" Target="../tags/tag672.xml"/><Relationship Id="rId308" Type="http://schemas.openxmlformats.org/officeDocument/2006/relationships/tags" Target="../tags/tag686.xml"/><Relationship Id="rId329" Type="http://schemas.openxmlformats.org/officeDocument/2006/relationships/tags" Target="../tags/tag707.xml"/><Relationship Id="rId47" Type="http://schemas.openxmlformats.org/officeDocument/2006/relationships/tags" Target="../tags/tag425.xml"/><Relationship Id="rId68" Type="http://schemas.openxmlformats.org/officeDocument/2006/relationships/tags" Target="../tags/tag446.xml"/><Relationship Id="rId89" Type="http://schemas.openxmlformats.org/officeDocument/2006/relationships/tags" Target="../tags/tag467.xml"/><Relationship Id="rId112" Type="http://schemas.openxmlformats.org/officeDocument/2006/relationships/tags" Target="../tags/tag490.xml"/><Relationship Id="rId133" Type="http://schemas.openxmlformats.org/officeDocument/2006/relationships/tags" Target="../tags/tag511.xml"/><Relationship Id="rId154" Type="http://schemas.openxmlformats.org/officeDocument/2006/relationships/tags" Target="../tags/tag532.xml"/><Relationship Id="rId175" Type="http://schemas.openxmlformats.org/officeDocument/2006/relationships/tags" Target="../tags/tag553.xml"/><Relationship Id="rId340" Type="http://schemas.openxmlformats.org/officeDocument/2006/relationships/tags" Target="../tags/tag718.xml"/><Relationship Id="rId361" Type="http://schemas.openxmlformats.org/officeDocument/2006/relationships/tags" Target="../tags/tag739.xml"/><Relationship Id="rId196" Type="http://schemas.openxmlformats.org/officeDocument/2006/relationships/tags" Target="../tags/tag574.xml"/><Relationship Id="rId200" Type="http://schemas.openxmlformats.org/officeDocument/2006/relationships/tags" Target="../tags/tag578.xml"/><Relationship Id="rId16" Type="http://schemas.openxmlformats.org/officeDocument/2006/relationships/tags" Target="../tags/tag394.xml"/><Relationship Id="rId221" Type="http://schemas.openxmlformats.org/officeDocument/2006/relationships/tags" Target="../tags/tag599.xml"/><Relationship Id="rId242" Type="http://schemas.openxmlformats.org/officeDocument/2006/relationships/tags" Target="../tags/tag620.xml"/><Relationship Id="rId263" Type="http://schemas.openxmlformats.org/officeDocument/2006/relationships/tags" Target="../tags/tag641.xml"/><Relationship Id="rId284" Type="http://schemas.openxmlformats.org/officeDocument/2006/relationships/tags" Target="../tags/tag662.xml"/><Relationship Id="rId319" Type="http://schemas.openxmlformats.org/officeDocument/2006/relationships/tags" Target="../tags/tag697.xml"/><Relationship Id="rId37" Type="http://schemas.openxmlformats.org/officeDocument/2006/relationships/tags" Target="../tags/tag415.xml"/><Relationship Id="rId58" Type="http://schemas.openxmlformats.org/officeDocument/2006/relationships/tags" Target="../tags/tag436.xml"/><Relationship Id="rId79" Type="http://schemas.openxmlformats.org/officeDocument/2006/relationships/tags" Target="../tags/tag457.xml"/><Relationship Id="rId102" Type="http://schemas.openxmlformats.org/officeDocument/2006/relationships/tags" Target="../tags/tag480.xml"/><Relationship Id="rId123" Type="http://schemas.openxmlformats.org/officeDocument/2006/relationships/tags" Target="../tags/tag501.xml"/><Relationship Id="rId144" Type="http://schemas.openxmlformats.org/officeDocument/2006/relationships/tags" Target="../tags/tag522.xml"/><Relationship Id="rId330" Type="http://schemas.openxmlformats.org/officeDocument/2006/relationships/tags" Target="../tags/tag708.xml"/><Relationship Id="rId90" Type="http://schemas.openxmlformats.org/officeDocument/2006/relationships/tags" Target="../tags/tag468.xml"/><Relationship Id="rId165" Type="http://schemas.openxmlformats.org/officeDocument/2006/relationships/tags" Target="../tags/tag543.xml"/><Relationship Id="rId186" Type="http://schemas.openxmlformats.org/officeDocument/2006/relationships/tags" Target="../tags/tag564.xml"/><Relationship Id="rId351" Type="http://schemas.openxmlformats.org/officeDocument/2006/relationships/tags" Target="../tags/tag729.xml"/><Relationship Id="rId372" Type="http://schemas.openxmlformats.org/officeDocument/2006/relationships/tags" Target="../tags/tag750.xml"/><Relationship Id="rId211" Type="http://schemas.openxmlformats.org/officeDocument/2006/relationships/tags" Target="../tags/tag589.xml"/><Relationship Id="rId232" Type="http://schemas.openxmlformats.org/officeDocument/2006/relationships/tags" Target="../tags/tag610.xml"/><Relationship Id="rId253" Type="http://schemas.openxmlformats.org/officeDocument/2006/relationships/tags" Target="../tags/tag631.xml"/><Relationship Id="rId274" Type="http://schemas.openxmlformats.org/officeDocument/2006/relationships/tags" Target="../tags/tag652.xml"/><Relationship Id="rId295" Type="http://schemas.openxmlformats.org/officeDocument/2006/relationships/tags" Target="../tags/tag673.xml"/><Relationship Id="rId309" Type="http://schemas.openxmlformats.org/officeDocument/2006/relationships/tags" Target="../tags/tag687.xml"/><Relationship Id="rId27" Type="http://schemas.openxmlformats.org/officeDocument/2006/relationships/tags" Target="../tags/tag405.xml"/><Relationship Id="rId48" Type="http://schemas.openxmlformats.org/officeDocument/2006/relationships/tags" Target="../tags/tag426.xml"/><Relationship Id="rId69" Type="http://schemas.openxmlformats.org/officeDocument/2006/relationships/tags" Target="../tags/tag447.xml"/><Relationship Id="rId113" Type="http://schemas.openxmlformats.org/officeDocument/2006/relationships/tags" Target="../tags/tag491.xml"/><Relationship Id="rId134" Type="http://schemas.openxmlformats.org/officeDocument/2006/relationships/tags" Target="../tags/tag512.xml"/><Relationship Id="rId320" Type="http://schemas.openxmlformats.org/officeDocument/2006/relationships/tags" Target="../tags/tag698.xml"/><Relationship Id="rId80" Type="http://schemas.openxmlformats.org/officeDocument/2006/relationships/tags" Target="../tags/tag458.xml"/><Relationship Id="rId155" Type="http://schemas.openxmlformats.org/officeDocument/2006/relationships/tags" Target="../tags/tag533.xml"/><Relationship Id="rId176" Type="http://schemas.openxmlformats.org/officeDocument/2006/relationships/tags" Target="../tags/tag554.xml"/><Relationship Id="rId197" Type="http://schemas.openxmlformats.org/officeDocument/2006/relationships/tags" Target="../tags/tag575.xml"/><Relationship Id="rId341" Type="http://schemas.openxmlformats.org/officeDocument/2006/relationships/tags" Target="../tags/tag719.xml"/><Relationship Id="rId362" Type="http://schemas.openxmlformats.org/officeDocument/2006/relationships/tags" Target="../tags/tag740.xml"/><Relationship Id="rId201" Type="http://schemas.openxmlformats.org/officeDocument/2006/relationships/tags" Target="../tags/tag579.xml"/><Relationship Id="rId222" Type="http://schemas.openxmlformats.org/officeDocument/2006/relationships/tags" Target="../tags/tag600.xml"/><Relationship Id="rId243" Type="http://schemas.openxmlformats.org/officeDocument/2006/relationships/tags" Target="../tags/tag621.xml"/><Relationship Id="rId264" Type="http://schemas.openxmlformats.org/officeDocument/2006/relationships/tags" Target="../tags/tag642.xml"/><Relationship Id="rId285" Type="http://schemas.openxmlformats.org/officeDocument/2006/relationships/tags" Target="../tags/tag663.xml"/><Relationship Id="rId17" Type="http://schemas.openxmlformats.org/officeDocument/2006/relationships/tags" Target="../tags/tag395.xml"/><Relationship Id="rId38" Type="http://schemas.openxmlformats.org/officeDocument/2006/relationships/tags" Target="../tags/tag416.xml"/><Relationship Id="rId59" Type="http://schemas.openxmlformats.org/officeDocument/2006/relationships/tags" Target="../tags/tag437.xml"/><Relationship Id="rId103" Type="http://schemas.openxmlformats.org/officeDocument/2006/relationships/tags" Target="../tags/tag481.xml"/><Relationship Id="rId124" Type="http://schemas.openxmlformats.org/officeDocument/2006/relationships/tags" Target="../tags/tag502.xml"/><Relationship Id="rId310" Type="http://schemas.openxmlformats.org/officeDocument/2006/relationships/tags" Target="../tags/tag688.xml"/><Relationship Id="rId70" Type="http://schemas.openxmlformats.org/officeDocument/2006/relationships/tags" Target="../tags/tag448.xml"/><Relationship Id="rId91" Type="http://schemas.openxmlformats.org/officeDocument/2006/relationships/tags" Target="../tags/tag469.xml"/><Relationship Id="rId145" Type="http://schemas.openxmlformats.org/officeDocument/2006/relationships/tags" Target="../tags/tag523.xml"/><Relationship Id="rId166" Type="http://schemas.openxmlformats.org/officeDocument/2006/relationships/tags" Target="../tags/tag544.xml"/><Relationship Id="rId187" Type="http://schemas.openxmlformats.org/officeDocument/2006/relationships/tags" Target="../tags/tag565.xml"/><Relationship Id="rId331" Type="http://schemas.openxmlformats.org/officeDocument/2006/relationships/tags" Target="../tags/tag709.xml"/><Relationship Id="rId352" Type="http://schemas.openxmlformats.org/officeDocument/2006/relationships/tags" Target="../tags/tag730.xml"/><Relationship Id="rId373" Type="http://schemas.openxmlformats.org/officeDocument/2006/relationships/tags" Target="../tags/tag751.xml"/><Relationship Id="rId1" Type="http://schemas.openxmlformats.org/officeDocument/2006/relationships/tags" Target="../tags/tag379.xml"/><Relationship Id="rId212" Type="http://schemas.openxmlformats.org/officeDocument/2006/relationships/tags" Target="../tags/tag590.xml"/><Relationship Id="rId233" Type="http://schemas.openxmlformats.org/officeDocument/2006/relationships/tags" Target="../tags/tag611.xml"/><Relationship Id="rId254" Type="http://schemas.openxmlformats.org/officeDocument/2006/relationships/tags" Target="../tags/tag632.xml"/><Relationship Id="rId28" Type="http://schemas.openxmlformats.org/officeDocument/2006/relationships/tags" Target="../tags/tag406.xml"/><Relationship Id="rId49" Type="http://schemas.openxmlformats.org/officeDocument/2006/relationships/tags" Target="../tags/tag427.xml"/><Relationship Id="rId114" Type="http://schemas.openxmlformats.org/officeDocument/2006/relationships/tags" Target="../tags/tag492.xml"/><Relationship Id="rId275" Type="http://schemas.openxmlformats.org/officeDocument/2006/relationships/tags" Target="../tags/tag653.xml"/><Relationship Id="rId296" Type="http://schemas.openxmlformats.org/officeDocument/2006/relationships/tags" Target="../tags/tag674.xml"/><Relationship Id="rId300" Type="http://schemas.openxmlformats.org/officeDocument/2006/relationships/tags" Target="../tags/tag678.xml"/><Relationship Id="rId60" Type="http://schemas.openxmlformats.org/officeDocument/2006/relationships/tags" Target="../tags/tag438.xml"/><Relationship Id="rId81" Type="http://schemas.openxmlformats.org/officeDocument/2006/relationships/tags" Target="../tags/tag459.xml"/><Relationship Id="rId135" Type="http://schemas.openxmlformats.org/officeDocument/2006/relationships/tags" Target="../tags/tag513.xml"/><Relationship Id="rId156" Type="http://schemas.openxmlformats.org/officeDocument/2006/relationships/tags" Target="../tags/tag534.xml"/><Relationship Id="rId177" Type="http://schemas.openxmlformats.org/officeDocument/2006/relationships/tags" Target="../tags/tag555.xml"/><Relationship Id="rId198" Type="http://schemas.openxmlformats.org/officeDocument/2006/relationships/tags" Target="../tags/tag576.xml"/><Relationship Id="rId321" Type="http://schemas.openxmlformats.org/officeDocument/2006/relationships/tags" Target="../tags/tag699.xml"/><Relationship Id="rId342" Type="http://schemas.openxmlformats.org/officeDocument/2006/relationships/tags" Target="../tags/tag720.xml"/><Relationship Id="rId363" Type="http://schemas.openxmlformats.org/officeDocument/2006/relationships/tags" Target="../tags/tag741.xml"/><Relationship Id="rId202" Type="http://schemas.openxmlformats.org/officeDocument/2006/relationships/tags" Target="../tags/tag580.xml"/><Relationship Id="rId223" Type="http://schemas.openxmlformats.org/officeDocument/2006/relationships/tags" Target="../tags/tag601.xml"/><Relationship Id="rId244" Type="http://schemas.openxmlformats.org/officeDocument/2006/relationships/tags" Target="../tags/tag622.xml"/><Relationship Id="rId18" Type="http://schemas.openxmlformats.org/officeDocument/2006/relationships/tags" Target="../tags/tag396.xml"/><Relationship Id="rId39" Type="http://schemas.openxmlformats.org/officeDocument/2006/relationships/tags" Target="../tags/tag417.xml"/><Relationship Id="rId265" Type="http://schemas.openxmlformats.org/officeDocument/2006/relationships/tags" Target="../tags/tag643.xml"/><Relationship Id="rId286" Type="http://schemas.openxmlformats.org/officeDocument/2006/relationships/tags" Target="../tags/tag664.xml"/><Relationship Id="rId50" Type="http://schemas.openxmlformats.org/officeDocument/2006/relationships/tags" Target="../tags/tag428.xml"/><Relationship Id="rId104" Type="http://schemas.openxmlformats.org/officeDocument/2006/relationships/tags" Target="../tags/tag482.xml"/><Relationship Id="rId125" Type="http://schemas.openxmlformats.org/officeDocument/2006/relationships/tags" Target="../tags/tag503.xml"/><Relationship Id="rId146" Type="http://schemas.openxmlformats.org/officeDocument/2006/relationships/tags" Target="../tags/tag524.xml"/><Relationship Id="rId167" Type="http://schemas.openxmlformats.org/officeDocument/2006/relationships/tags" Target="../tags/tag545.xml"/><Relationship Id="rId188" Type="http://schemas.openxmlformats.org/officeDocument/2006/relationships/tags" Target="../tags/tag566.xml"/><Relationship Id="rId311" Type="http://schemas.openxmlformats.org/officeDocument/2006/relationships/tags" Target="../tags/tag689.xml"/><Relationship Id="rId332" Type="http://schemas.openxmlformats.org/officeDocument/2006/relationships/tags" Target="../tags/tag710.xml"/><Relationship Id="rId353" Type="http://schemas.openxmlformats.org/officeDocument/2006/relationships/tags" Target="../tags/tag731.xml"/><Relationship Id="rId374" Type="http://schemas.openxmlformats.org/officeDocument/2006/relationships/tags" Target="../tags/tag752.xml"/><Relationship Id="rId71" Type="http://schemas.openxmlformats.org/officeDocument/2006/relationships/tags" Target="../tags/tag449.xml"/><Relationship Id="rId92" Type="http://schemas.openxmlformats.org/officeDocument/2006/relationships/tags" Target="../tags/tag470.xml"/><Relationship Id="rId213" Type="http://schemas.openxmlformats.org/officeDocument/2006/relationships/tags" Target="../tags/tag591.xml"/><Relationship Id="rId234" Type="http://schemas.openxmlformats.org/officeDocument/2006/relationships/tags" Target="../tags/tag612.xml"/><Relationship Id="rId2" Type="http://schemas.openxmlformats.org/officeDocument/2006/relationships/tags" Target="../tags/tag380.xml"/><Relationship Id="rId29" Type="http://schemas.openxmlformats.org/officeDocument/2006/relationships/tags" Target="../tags/tag407.xml"/><Relationship Id="rId255" Type="http://schemas.openxmlformats.org/officeDocument/2006/relationships/tags" Target="../tags/tag633.xml"/><Relationship Id="rId276" Type="http://schemas.openxmlformats.org/officeDocument/2006/relationships/tags" Target="../tags/tag654.xml"/><Relationship Id="rId297" Type="http://schemas.openxmlformats.org/officeDocument/2006/relationships/tags" Target="../tags/tag675.xml"/><Relationship Id="rId40" Type="http://schemas.openxmlformats.org/officeDocument/2006/relationships/tags" Target="../tags/tag418.xml"/><Relationship Id="rId115" Type="http://schemas.openxmlformats.org/officeDocument/2006/relationships/tags" Target="../tags/tag493.xml"/><Relationship Id="rId136" Type="http://schemas.openxmlformats.org/officeDocument/2006/relationships/tags" Target="../tags/tag514.xml"/><Relationship Id="rId157" Type="http://schemas.openxmlformats.org/officeDocument/2006/relationships/tags" Target="../tags/tag535.xml"/><Relationship Id="rId178" Type="http://schemas.openxmlformats.org/officeDocument/2006/relationships/tags" Target="../tags/tag556.xml"/><Relationship Id="rId301" Type="http://schemas.openxmlformats.org/officeDocument/2006/relationships/tags" Target="../tags/tag679.xml"/><Relationship Id="rId322" Type="http://schemas.openxmlformats.org/officeDocument/2006/relationships/tags" Target="../tags/tag700.xml"/><Relationship Id="rId343" Type="http://schemas.openxmlformats.org/officeDocument/2006/relationships/tags" Target="../tags/tag721.xml"/><Relationship Id="rId364" Type="http://schemas.openxmlformats.org/officeDocument/2006/relationships/tags" Target="../tags/tag742.xml"/><Relationship Id="rId61" Type="http://schemas.openxmlformats.org/officeDocument/2006/relationships/tags" Target="../tags/tag439.xml"/><Relationship Id="rId82" Type="http://schemas.openxmlformats.org/officeDocument/2006/relationships/tags" Target="../tags/tag460.xml"/><Relationship Id="rId199" Type="http://schemas.openxmlformats.org/officeDocument/2006/relationships/tags" Target="../tags/tag577.xml"/><Relationship Id="rId203" Type="http://schemas.openxmlformats.org/officeDocument/2006/relationships/tags" Target="../tags/tag581.xml"/><Relationship Id="rId19" Type="http://schemas.openxmlformats.org/officeDocument/2006/relationships/tags" Target="../tags/tag397.xml"/><Relationship Id="rId224" Type="http://schemas.openxmlformats.org/officeDocument/2006/relationships/tags" Target="../tags/tag602.xml"/><Relationship Id="rId245" Type="http://schemas.openxmlformats.org/officeDocument/2006/relationships/tags" Target="../tags/tag623.xml"/><Relationship Id="rId266" Type="http://schemas.openxmlformats.org/officeDocument/2006/relationships/tags" Target="../tags/tag644.xml"/><Relationship Id="rId287" Type="http://schemas.openxmlformats.org/officeDocument/2006/relationships/tags" Target="../tags/tag665.xml"/><Relationship Id="rId30" Type="http://schemas.openxmlformats.org/officeDocument/2006/relationships/tags" Target="../tags/tag408.xml"/><Relationship Id="rId105" Type="http://schemas.openxmlformats.org/officeDocument/2006/relationships/tags" Target="../tags/tag483.xml"/><Relationship Id="rId126" Type="http://schemas.openxmlformats.org/officeDocument/2006/relationships/tags" Target="../tags/tag504.xml"/><Relationship Id="rId147" Type="http://schemas.openxmlformats.org/officeDocument/2006/relationships/tags" Target="../tags/tag525.xml"/><Relationship Id="rId168" Type="http://schemas.openxmlformats.org/officeDocument/2006/relationships/tags" Target="../tags/tag546.xml"/><Relationship Id="rId312" Type="http://schemas.openxmlformats.org/officeDocument/2006/relationships/tags" Target="../tags/tag690.xml"/><Relationship Id="rId333" Type="http://schemas.openxmlformats.org/officeDocument/2006/relationships/tags" Target="../tags/tag711.xml"/><Relationship Id="rId354" Type="http://schemas.openxmlformats.org/officeDocument/2006/relationships/tags" Target="../tags/tag732.xml"/><Relationship Id="rId51" Type="http://schemas.openxmlformats.org/officeDocument/2006/relationships/tags" Target="../tags/tag429.xml"/><Relationship Id="rId72" Type="http://schemas.openxmlformats.org/officeDocument/2006/relationships/tags" Target="../tags/tag450.xml"/><Relationship Id="rId93" Type="http://schemas.openxmlformats.org/officeDocument/2006/relationships/tags" Target="../tags/tag471.xml"/><Relationship Id="rId189" Type="http://schemas.openxmlformats.org/officeDocument/2006/relationships/tags" Target="../tags/tag567.xml"/><Relationship Id="rId375" Type="http://schemas.openxmlformats.org/officeDocument/2006/relationships/tags" Target="../tags/tag753.xml"/><Relationship Id="rId3" Type="http://schemas.openxmlformats.org/officeDocument/2006/relationships/tags" Target="../tags/tag381.xml"/><Relationship Id="rId214" Type="http://schemas.openxmlformats.org/officeDocument/2006/relationships/tags" Target="../tags/tag592.xml"/><Relationship Id="rId235" Type="http://schemas.openxmlformats.org/officeDocument/2006/relationships/tags" Target="../tags/tag613.xml"/><Relationship Id="rId256" Type="http://schemas.openxmlformats.org/officeDocument/2006/relationships/tags" Target="../tags/tag634.xml"/><Relationship Id="rId277" Type="http://schemas.openxmlformats.org/officeDocument/2006/relationships/tags" Target="../tags/tag655.xml"/><Relationship Id="rId298" Type="http://schemas.openxmlformats.org/officeDocument/2006/relationships/tags" Target="../tags/tag676.xml"/><Relationship Id="rId116" Type="http://schemas.openxmlformats.org/officeDocument/2006/relationships/tags" Target="../tags/tag494.xml"/><Relationship Id="rId137" Type="http://schemas.openxmlformats.org/officeDocument/2006/relationships/tags" Target="../tags/tag515.xml"/><Relationship Id="rId158" Type="http://schemas.openxmlformats.org/officeDocument/2006/relationships/tags" Target="../tags/tag536.xml"/><Relationship Id="rId302" Type="http://schemas.openxmlformats.org/officeDocument/2006/relationships/tags" Target="../tags/tag680.xml"/><Relationship Id="rId323" Type="http://schemas.openxmlformats.org/officeDocument/2006/relationships/tags" Target="../tags/tag701.xml"/><Relationship Id="rId344" Type="http://schemas.openxmlformats.org/officeDocument/2006/relationships/tags" Target="../tags/tag722.xml"/><Relationship Id="rId20" Type="http://schemas.openxmlformats.org/officeDocument/2006/relationships/tags" Target="../tags/tag398.xml"/><Relationship Id="rId41" Type="http://schemas.openxmlformats.org/officeDocument/2006/relationships/tags" Target="../tags/tag419.xml"/><Relationship Id="rId62" Type="http://schemas.openxmlformats.org/officeDocument/2006/relationships/tags" Target="../tags/tag440.xml"/><Relationship Id="rId83" Type="http://schemas.openxmlformats.org/officeDocument/2006/relationships/tags" Target="../tags/tag461.xml"/><Relationship Id="rId179" Type="http://schemas.openxmlformats.org/officeDocument/2006/relationships/tags" Target="../tags/tag557.xml"/><Relationship Id="rId365" Type="http://schemas.openxmlformats.org/officeDocument/2006/relationships/tags" Target="../tags/tag743.xml"/><Relationship Id="rId190" Type="http://schemas.openxmlformats.org/officeDocument/2006/relationships/tags" Target="../tags/tag568.xml"/><Relationship Id="rId204" Type="http://schemas.openxmlformats.org/officeDocument/2006/relationships/tags" Target="../tags/tag582.xml"/><Relationship Id="rId225" Type="http://schemas.openxmlformats.org/officeDocument/2006/relationships/tags" Target="../tags/tag603.xml"/><Relationship Id="rId246" Type="http://schemas.openxmlformats.org/officeDocument/2006/relationships/tags" Target="../tags/tag624.xml"/><Relationship Id="rId267" Type="http://schemas.openxmlformats.org/officeDocument/2006/relationships/tags" Target="../tags/tag645.xml"/><Relationship Id="rId288" Type="http://schemas.openxmlformats.org/officeDocument/2006/relationships/tags" Target="../tags/tag666.xml"/><Relationship Id="rId106" Type="http://schemas.openxmlformats.org/officeDocument/2006/relationships/tags" Target="../tags/tag484.xml"/><Relationship Id="rId127" Type="http://schemas.openxmlformats.org/officeDocument/2006/relationships/tags" Target="../tags/tag505.xml"/><Relationship Id="rId313" Type="http://schemas.openxmlformats.org/officeDocument/2006/relationships/tags" Target="../tags/tag691.xml"/><Relationship Id="rId10" Type="http://schemas.openxmlformats.org/officeDocument/2006/relationships/tags" Target="../tags/tag388.xml"/><Relationship Id="rId31" Type="http://schemas.openxmlformats.org/officeDocument/2006/relationships/tags" Target="../tags/tag409.xml"/><Relationship Id="rId52" Type="http://schemas.openxmlformats.org/officeDocument/2006/relationships/tags" Target="../tags/tag430.xml"/><Relationship Id="rId73" Type="http://schemas.openxmlformats.org/officeDocument/2006/relationships/tags" Target="../tags/tag451.xml"/><Relationship Id="rId94" Type="http://schemas.openxmlformats.org/officeDocument/2006/relationships/tags" Target="../tags/tag472.xml"/><Relationship Id="rId148" Type="http://schemas.openxmlformats.org/officeDocument/2006/relationships/tags" Target="../tags/tag526.xml"/><Relationship Id="rId169" Type="http://schemas.openxmlformats.org/officeDocument/2006/relationships/tags" Target="../tags/tag547.xml"/><Relationship Id="rId334" Type="http://schemas.openxmlformats.org/officeDocument/2006/relationships/tags" Target="../tags/tag712.xml"/><Relationship Id="rId355" Type="http://schemas.openxmlformats.org/officeDocument/2006/relationships/tags" Target="../tags/tag733.xml"/><Relationship Id="rId376" Type="http://schemas.openxmlformats.org/officeDocument/2006/relationships/tags" Target="../tags/tag754.xml"/><Relationship Id="rId4" Type="http://schemas.openxmlformats.org/officeDocument/2006/relationships/tags" Target="../tags/tag382.xml"/><Relationship Id="rId180" Type="http://schemas.openxmlformats.org/officeDocument/2006/relationships/tags" Target="../tags/tag558.xml"/><Relationship Id="rId215" Type="http://schemas.openxmlformats.org/officeDocument/2006/relationships/tags" Target="../tags/tag593.xml"/><Relationship Id="rId236" Type="http://schemas.openxmlformats.org/officeDocument/2006/relationships/tags" Target="../tags/tag614.xml"/><Relationship Id="rId257" Type="http://schemas.openxmlformats.org/officeDocument/2006/relationships/tags" Target="../tags/tag635.xml"/><Relationship Id="rId278" Type="http://schemas.openxmlformats.org/officeDocument/2006/relationships/tags" Target="../tags/tag656.xml"/><Relationship Id="rId303" Type="http://schemas.openxmlformats.org/officeDocument/2006/relationships/tags" Target="../tags/tag681.xml"/><Relationship Id="rId42" Type="http://schemas.openxmlformats.org/officeDocument/2006/relationships/tags" Target="../tags/tag420.xml"/><Relationship Id="rId84" Type="http://schemas.openxmlformats.org/officeDocument/2006/relationships/tags" Target="../tags/tag462.xml"/><Relationship Id="rId138" Type="http://schemas.openxmlformats.org/officeDocument/2006/relationships/tags" Target="../tags/tag516.xml"/><Relationship Id="rId345" Type="http://schemas.openxmlformats.org/officeDocument/2006/relationships/tags" Target="../tags/tag723.xml"/><Relationship Id="rId191" Type="http://schemas.openxmlformats.org/officeDocument/2006/relationships/tags" Target="../tags/tag569.xml"/><Relationship Id="rId205" Type="http://schemas.openxmlformats.org/officeDocument/2006/relationships/tags" Target="../tags/tag583.xml"/><Relationship Id="rId247" Type="http://schemas.openxmlformats.org/officeDocument/2006/relationships/tags" Target="../tags/tag625.xml"/><Relationship Id="rId107" Type="http://schemas.openxmlformats.org/officeDocument/2006/relationships/tags" Target="../tags/tag485.xml"/><Relationship Id="rId289" Type="http://schemas.openxmlformats.org/officeDocument/2006/relationships/tags" Target="../tags/tag667.xml"/><Relationship Id="rId11" Type="http://schemas.openxmlformats.org/officeDocument/2006/relationships/tags" Target="../tags/tag389.xml"/><Relationship Id="rId53" Type="http://schemas.openxmlformats.org/officeDocument/2006/relationships/tags" Target="../tags/tag431.xml"/><Relationship Id="rId149" Type="http://schemas.openxmlformats.org/officeDocument/2006/relationships/tags" Target="../tags/tag527.xml"/><Relationship Id="rId314" Type="http://schemas.openxmlformats.org/officeDocument/2006/relationships/tags" Target="../tags/tag692.xml"/><Relationship Id="rId356" Type="http://schemas.openxmlformats.org/officeDocument/2006/relationships/tags" Target="../tags/tag734.xml"/><Relationship Id="rId95" Type="http://schemas.openxmlformats.org/officeDocument/2006/relationships/tags" Target="../tags/tag473.xml"/><Relationship Id="rId160" Type="http://schemas.openxmlformats.org/officeDocument/2006/relationships/tags" Target="../tags/tag538.xml"/><Relationship Id="rId216" Type="http://schemas.openxmlformats.org/officeDocument/2006/relationships/tags" Target="../tags/tag594.xml"/><Relationship Id="rId258" Type="http://schemas.openxmlformats.org/officeDocument/2006/relationships/tags" Target="../tags/tag636.xml"/><Relationship Id="rId22" Type="http://schemas.openxmlformats.org/officeDocument/2006/relationships/tags" Target="../tags/tag400.xml"/><Relationship Id="rId64" Type="http://schemas.openxmlformats.org/officeDocument/2006/relationships/tags" Target="../tags/tag442.xml"/><Relationship Id="rId118" Type="http://schemas.openxmlformats.org/officeDocument/2006/relationships/tags" Target="../tags/tag496.xml"/><Relationship Id="rId325" Type="http://schemas.openxmlformats.org/officeDocument/2006/relationships/tags" Target="../tags/tag703.xml"/><Relationship Id="rId367" Type="http://schemas.openxmlformats.org/officeDocument/2006/relationships/tags" Target="../tags/tag745.xml"/><Relationship Id="rId171" Type="http://schemas.openxmlformats.org/officeDocument/2006/relationships/tags" Target="../tags/tag549.xml"/><Relationship Id="rId227" Type="http://schemas.openxmlformats.org/officeDocument/2006/relationships/tags" Target="../tags/tag605.xml"/><Relationship Id="rId269" Type="http://schemas.openxmlformats.org/officeDocument/2006/relationships/tags" Target="../tags/tag647.xml"/><Relationship Id="rId33" Type="http://schemas.openxmlformats.org/officeDocument/2006/relationships/tags" Target="../tags/tag411.xml"/><Relationship Id="rId129" Type="http://schemas.openxmlformats.org/officeDocument/2006/relationships/tags" Target="../tags/tag507.xml"/><Relationship Id="rId280" Type="http://schemas.openxmlformats.org/officeDocument/2006/relationships/tags" Target="../tags/tag658.xml"/><Relationship Id="rId336" Type="http://schemas.openxmlformats.org/officeDocument/2006/relationships/tags" Target="../tags/tag714.xml"/><Relationship Id="rId75" Type="http://schemas.openxmlformats.org/officeDocument/2006/relationships/tags" Target="../tags/tag453.xml"/><Relationship Id="rId140" Type="http://schemas.openxmlformats.org/officeDocument/2006/relationships/tags" Target="../tags/tag518.xml"/><Relationship Id="rId182" Type="http://schemas.openxmlformats.org/officeDocument/2006/relationships/tags" Target="../tags/tag560.xml"/><Relationship Id="rId378" Type="http://schemas.openxmlformats.org/officeDocument/2006/relationships/tags" Target="../tags/tag756.xml"/><Relationship Id="rId6" Type="http://schemas.openxmlformats.org/officeDocument/2006/relationships/tags" Target="../tags/tag384.xml"/><Relationship Id="rId238" Type="http://schemas.openxmlformats.org/officeDocument/2006/relationships/tags" Target="../tags/tag616.xml"/><Relationship Id="rId291" Type="http://schemas.openxmlformats.org/officeDocument/2006/relationships/tags" Target="../tags/tag669.xml"/><Relationship Id="rId305" Type="http://schemas.openxmlformats.org/officeDocument/2006/relationships/tags" Target="../tags/tag683.xml"/><Relationship Id="rId347" Type="http://schemas.openxmlformats.org/officeDocument/2006/relationships/tags" Target="../tags/tag725.xml"/><Relationship Id="rId44" Type="http://schemas.openxmlformats.org/officeDocument/2006/relationships/tags" Target="../tags/tag422.xml"/><Relationship Id="rId86" Type="http://schemas.openxmlformats.org/officeDocument/2006/relationships/tags" Target="../tags/tag464.xml"/><Relationship Id="rId151" Type="http://schemas.openxmlformats.org/officeDocument/2006/relationships/tags" Target="../tags/tag529.xml"/><Relationship Id="rId193" Type="http://schemas.openxmlformats.org/officeDocument/2006/relationships/tags" Target="../tags/tag571.xml"/><Relationship Id="rId207" Type="http://schemas.openxmlformats.org/officeDocument/2006/relationships/tags" Target="../tags/tag585.xml"/><Relationship Id="rId249" Type="http://schemas.openxmlformats.org/officeDocument/2006/relationships/tags" Target="../tags/tag627.xml"/><Relationship Id="rId13" Type="http://schemas.openxmlformats.org/officeDocument/2006/relationships/tags" Target="../tags/tag391.xml"/><Relationship Id="rId109" Type="http://schemas.openxmlformats.org/officeDocument/2006/relationships/tags" Target="../tags/tag487.xml"/><Relationship Id="rId260" Type="http://schemas.openxmlformats.org/officeDocument/2006/relationships/tags" Target="../tags/tag638.xml"/><Relationship Id="rId316" Type="http://schemas.openxmlformats.org/officeDocument/2006/relationships/tags" Target="../tags/tag694.xml"/><Relationship Id="rId55" Type="http://schemas.openxmlformats.org/officeDocument/2006/relationships/tags" Target="../tags/tag433.xml"/><Relationship Id="rId97" Type="http://schemas.openxmlformats.org/officeDocument/2006/relationships/tags" Target="../tags/tag475.xml"/><Relationship Id="rId120" Type="http://schemas.openxmlformats.org/officeDocument/2006/relationships/tags" Target="../tags/tag498.xml"/><Relationship Id="rId358" Type="http://schemas.openxmlformats.org/officeDocument/2006/relationships/tags" Target="../tags/tag736.xml"/><Relationship Id="rId162" Type="http://schemas.openxmlformats.org/officeDocument/2006/relationships/tags" Target="../tags/tag540.xml"/><Relationship Id="rId218" Type="http://schemas.openxmlformats.org/officeDocument/2006/relationships/tags" Target="../tags/tag596.xml"/><Relationship Id="rId271" Type="http://schemas.openxmlformats.org/officeDocument/2006/relationships/tags" Target="../tags/tag649.xml"/><Relationship Id="rId24" Type="http://schemas.openxmlformats.org/officeDocument/2006/relationships/tags" Target="../tags/tag402.xml"/><Relationship Id="rId66" Type="http://schemas.openxmlformats.org/officeDocument/2006/relationships/tags" Target="../tags/tag444.xml"/><Relationship Id="rId131" Type="http://schemas.openxmlformats.org/officeDocument/2006/relationships/tags" Target="../tags/tag509.xml"/><Relationship Id="rId327" Type="http://schemas.openxmlformats.org/officeDocument/2006/relationships/tags" Target="../tags/tag705.xml"/><Relationship Id="rId369" Type="http://schemas.openxmlformats.org/officeDocument/2006/relationships/tags" Target="../tags/tag747.xml"/><Relationship Id="rId173" Type="http://schemas.openxmlformats.org/officeDocument/2006/relationships/tags" Target="../tags/tag551.xml"/><Relationship Id="rId229" Type="http://schemas.openxmlformats.org/officeDocument/2006/relationships/tags" Target="../tags/tag607.xml"/><Relationship Id="rId380" Type="http://schemas.openxmlformats.org/officeDocument/2006/relationships/notesSlide" Target="../notesSlides/notesSlide10.xml"/><Relationship Id="rId240" Type="http://schemas.openxmlformats.org/officeDocument/2006/relationships/tags" Target="../tags/tag618.xml"/><Relationship Id="rId35" Type="http://schemas.openxmlformats.org/officeDocument/2006/relationships/tags" Target="../tags/tag413.xml"/><Relationship Id="rId77" Type="http://schemas.openxmlformats.org/officeDocument/2006/relationships/tags" Target="../tags/tag455.xml"/><Relationship Id="rId100" Type="http://schemas.openxmlformats.org/officeDocument/2006/relationships/tags" Target="../tags/tag478.xml"/><Relationship Id="rId282" Type="http://schemas.openxmlformats.org/officeDocument/2006/relationships/tags" Target="../tags/tag660.xml"/><Relationship Id="rId338" Type="http://schemas.openxmlformats.org/officeDocument/2006/relationships/tags" Target="../tags/tag716.xml"/><Relationship Id="rId8" Type="http://schemas.openxmlformats.org/officeDocument/2006/relationships/tags" Target="../tags/tag386.xml"/><Relationship Id="rId142" Type="http://schemas.openxmlformats.org/officeDocument/2006/relationships/tags" Target="../tags/tag520.xml"/><Relationship Id="rId184" Type="http://schemas.openxmlformats.org/officeDocument/2006/relationships/tags" Target="../tags/tag562.xml"/><Relationship Id="rId251" Type="http://schemas.openxmlformats.org/officeDocument/2006/relationships/tags" Target="../tags/tag629.xml"/><Relationship Id="rId46" Type="http://schemas.openxmlformats.org/officeDocument/2006/relationships/tags" Target="../tags/tag424.xml"/><Relationship Id="rId293" Type="http://schemas.openxmlformats.org/officeDocument/2006/relationships/tags" Target="../tags/tag671.xml"/><Relationship Id="rId307" Type="http://schemas.openxmlformats.org/officeDocument/2006/relationships/tags" Target="../tags/tag685.xml"/><Relationship Id="rId349" Type="http://schemas.openxmlformats.org/officeDocument/2006/relationships/tags" Target="../tags/tag727.xml"/><Relationship Id="rId88" Type="http://schemas.openxmlformats.org/officeDocument/2006/relationships/tags" Target="../tags/tag466.xml"/><Relationship Id="rId111" Type="http://schemas.openxmlformats.org/officeDocument/2006/relationships/tags" Target="../tags/tag489.xml"/><Relationship Id="rId153" Type="http://schemas.openxmlformats.org/officeDocument/2006/relationships/tags" Target="../tags/tag531.xml"/><Relationship Id="rId195" Type="http://schemas.openxmlformats.org/officeDocument/2006/relationships/tags" Target="../tags/tag573.xml"/><Relationship Id="rId209" Type="http://schemas.openxmlformats.org/officeDocument/2006/relationships/tags" Target="../tags/tag587.xml"/><Relationship Id="rId360" Type="http://schemas.openxmlformats.org/officeDocument/2006/relationships/tags" Target="../tags/tag738.xml"/><Relationship Id="rId220" Type="http://schemas.openxmlformats.org/officeDocument/2006/relationships/tags" Target="../tags/tag598.xml"/><Relationship Id="rId15" Type="http://schemas.openxmlformats.org/officeDocument/2006/relationships/tags" Target="../tags/tag393.xml"/><Relationship Id="rId57" Type="http://schemas.openxmlformats.org/officeDocument/2006/relationships/tags" Target="../tags/tag435.xml"/><Relationship Id="rId262" Type="http://schemas.openxmlformats.org/officeDocument/2006/relationships/tags" Target="../tags/tag640.xml"/><Relationship Id="rId318" Type="http://schemas.openxmlformats.org/officeDocument/2006/relationships/tags" Target="../tags/tag696.xml"/><Relationship Id="rId99" Type="http://schemas.openxmlformats.org/officeDocument/2006/relationships/tags" Target="../tags/tag477.xml"/><Relationship Id="rId122" Type="http://schemas.openxmlformats.org/officeDocument/2006/relationships/tags" Target="../tags/tag500.xml"/><Relationship Id="rId164" Type="http://schemas.openxmlformats.org/officeDocument/2006/relationships/tags" Target="../tags/tag542.xml"/><Relationship Id="rId371" Type="http://schemas.openxmlformats.org/officeDocument/2006/relationships/tags" Target="../tags/tag7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971550" y="1376363"/>
            <a:ext cx="7694626" cy="1044526"/>
          </a:xfrm>
        </p:spPr>
        <p:txBody>
          <a:bodyPr/>
          <a:lstStyle/>
          <a:p>
            <a:r>
              <a:rPr lang="de-DE" dirty="0" err="1" smtClean="0"/>
              <a:t>Risk</a:t>
            </a:r>
            <a:r>
              <a:rPr lang="de-DE" dirty="0" smtClean="0"/>
              <a:t>-Return </a:t>
            </a:r>
            <a:r>
              <a:rPr lang="de-DE" dirty="0" err="1" smtClean="0"/>
              <a:t>judgments</a:t>
            </a:r>
            <a:r>
              <a:rPr lang="de-DE" dirty="0" smtClean="0"/>
              <a:t> &amp;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ffect</a:t>
            </a:r>
            <a:r>
              <a:rPr lang="de-DE" dirty="0" smtClean="0"/>
              <a:t> </a:t>
            </a:r>
            <a:r>
              <a:rPr lang="de-DE" dirty="0" err="1" smtClean="0"/>
              <a:t>heuristic</a:t>
            </a:r>
            <a:endParaRPr lang="en-US" dirty="0">
              <a:latin typeface="Andale Mono"/>
              <a:cs typeface="Andale Mono"/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>
          <a:xfrm>
            <a:off x="971551" y="3392996"/>
            <a:ext cx="2160290" cy="828092"/>
          </a:xfrm>
        </p:spPr>
        <p:txBody>
          <a:bodyPr/>
          <a:lstStyle/>
          <a:p>
            <a:endParaRPr lang="en-US" sz="1800" dirty="0" smtClean="0"/>
          </a:p>
          <a:p>
            <a:r>
              <a:rPr lang="en-US" sz="1800" dirty="0" smtClean="0"/>
              <a:t>Janine </a:t>
            </a:r>
            <a:r>
              <a:rPr lang="en-US" sz="1800" dirty="0" err="1" smtClean="0"/>
              <a:t>Hoffart</a:t>
            </a:r>
            <a:r>
              <a:rPr lang="en-US" sz="1800" dirty="0" smtClean="0"/>
              <a:t>, </a:t>
            </a:r>
          </a:p>
          <a:p>
            <a:r>
              <a:rPr lang="en-US" sz="1800" dirty="0" smtClean="0"/>
              <a:t>Jana </a:t>
            </a:r>
            <a:r>
              <a:rPr lang="en-US" sz="1800" dirty="0" err="1" smtClean="0"/>
              <a:t>Jarecki</a:t>
            </a:r>
            <a:r>
              <a:rPr lang="en-US" sz="1800" dirty="0" smtClean="0"/>
              <a:t>,</a:t>
            </a:r>
          </a:p>
          <a:p>
            <a:r>
              <a:rPr lang="en-US" sz="1800" dirty="0" err="1" smtClean="0"/>
              <a:t>Jörg</a:t>
            </a:r>
            <a:r>
              <a:rPr lang="en-US" sz="1800" dirty="0" smtClean="0"/>
              <a:t> </a:t>
            </a:r>
            <a:r>
              <a:rPr lang="en-US" sz="1800" dirty="0" err="1" smtClean="0"/>
              <a:t>Rieskamp</a:t>
            </a:r>
            <a:endParaRPr lang="en-US" sz="1800" dirty="0" smtClean="0"/>
          </a:p>
          <a:p>
            <a:endParaRPr lang="en-US" sz="1800" dirty="0" smtClean="0"/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7939" y="2685483"/>
            <a:ext cx="1440000" cy="1440000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8151" y="3501088"/>
            <a:ext cx="1200000" cy="144000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107504" y="296652"/>
            <a:ext cx="1944192" cy="864096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8509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Result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tudy 1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RR &amp; Affect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F16DE-A0D5-4438-950F-5B1E159C2C2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518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pPr lvl="1"/>
            <a:r>
              <a:rPr lang="en-US" dirty="0" smtClean="0">
                <a:latin typeface="Andale Mono" charset="0"/>
                <a:ea typeface="Andale Mono" charset="0"/>
                <a:cs typeface="Andale Mono" charset="0"/>
              </a:rPr>
              <a:t>Ask for fluctuation if you want to measure variance.</a:t>
            </a:r>
            <a:endParaRPr lang="en-US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11</a:t>
            </a:fld>
            <a:endParaRPr lang="en-US" dirty="0"/>
          </a:p>
        </p:txBody>
      </p:sp>
      <p:cxnSp>
        <p:nvCxnSpPr>
          <p:cNvPr id="11" name="Gerade Verbindung 10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d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86000"/>
            <a:ext cx="8863470" cy="233249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660648" y="2780928"/>
            <a:ext cx="1427076" cy="11881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2892896" y="2780928"/>
            <a:ext cx="1427076" cy="11881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5076056" y="2780928"/>
            <a:ext cx="1427076" cy="11881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7321388" y="2780928"/>
            <a:ext cx="1427076" cy="11881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6415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pPr lvl="1"/>
            <a:r>
              <a:rPr lang="en-US" dirty="0" smtClean="0">
                <a:latin typeface="Andale Mono" charset="0"/>
                <a:ea typeface="Andale Mono" charset="0"/>
                <a:cs typeface="Andale Mono" charset="0"/>
              </a:rPr>
              <a:t>Ask for fluctuation if you want to measure variance.</a:t>
            </a:r>
            <a:endParaRPr lang="en-US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12</a:t>
            </a:fld>
            <a:endParaRPr lang="en-US" dirty="0"/>
          </a:p>
        </p:txBody>
      </p:sp>
      <p:cxnSp>
        <p:nvCxnSpPr>
          <p:cNvPr id="11" name="Gerade Verbindung 10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Abgerundetes Rechteck 5"/>
          <p:cNvSpPr/>
          <p:nvPr/>
        </p:nvSpPr>
        <p:spPr>
          <a:xfrm>
            <a:off x="6660233" y="2458252"/>
            <a:ext cx="2304256" cy="2160240"/>
          </a:xfrm>
          <a:prstGeom prst="roundRect">
            <a:avLst/>
          </a:prstGeom>
          <a:solidFill>
            <a:schemeClr val="accent1"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8563792"/>
              </p:ext>
            </p:extLst>
          </p:nvPr>
        </p:nvGraphicFramePr>
        <p:xfrm>
          <a:off x="660648" y="5037655"/>
          <a:ext cx="7704855" cy="1127946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540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0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409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409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409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2217"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2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Scale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768"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Risk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Predictability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Variability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Fluctuation</a:t>
                      </a:r>
                      <a:endParaRPr lang="de-DE" sz="1200" baseline="-250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768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Variance</a:t>
                      </a:r>
                      <a:r>
                        <a:rPr lang="de-DE" sz="1200" baseline="-250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Objective</a:t>
                      </a:r>
                      <a:endParaRPr lang="de-DE" sz="1200" baseline="-250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12.92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-17.43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25.89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28.56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986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AIC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6293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6049</a:t>
                      </a:r>
                      <a:endParaRPr lang="de-DE" sz="12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5450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200" dirty="0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5264</a:t>
                      </a:r>
                      <a:endParaRPr lang="de-DE" sz="12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8" name="Abgerundetes Rechteck 17"/>
          <p:cNvSpPr/>
          <p:nvPr/>
        </p:nvSpPr>
        <p:spPr>
          <a:xfrm>
            <a:off x="6876255" y="5349287"/>
            <a:ext cx="1489248" cy="915131"/>
          </a:xfrm>
          <a:prstGeom prst="roundRect">
            <a:avLst/>
          </a:prstGeom>
          <a:solidFill>
            <a:schemeClr val="accent1"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86000"/>
            <a:ext cx="8863470" cy="23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06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Interim summary.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2400" b="1" dirty="0" smtClean="0"/>
              <a:t>Best way to asses variance: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endParaRPr lang="en-US" sz="2400" b="1" dirty="0"/>
          </a:p>
          <a:p>
            <a:pPr lvl="1" indent="0" algn="ctr">
              <a:lnSpc>
                <a:spcPct val="150000"/>
              </a:lnSpc>
              <a:buNone/>
            </a:pPr>
            <a:r>
              <a:rPr lang="en-US" sz="2400" b="1" dirty="0" smtClean="0"/>
              <a:t>Ask for fluctuation!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13</a:t>
            </a:fld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8173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udy 2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Replication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ffect</a:t>
            </a:r>
            <a:r>
              <a:rPr lang="de-DE" dirty="0" smtClean="0"/>
              <a:t> </a:t>
            </a:r>
            <a:r>
              <a:rPr lang="de-DE" dirty="0" err="1" smtClean="0"/>
              <a:t>heuristic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RR &amp; Affect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F16DE-A0D5-4438-950F-5B1E159C2C2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997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marL="180000" lvl="1">
              <a:lnSpc>
                <a:spcPct val="100000"/>
              </a:lnSpc>
              <a:defRPr/>
            </a:pPr>
            <a:r>
              <a:rPr lang="en-US" sz="2300" dirty="0">
                <a:latin typeface="Andale Mono" charset="0"/>
                <a:ea typeface="Andale Mono" charset="0"/>
                <a:cs typeface="Andale Mono" charset="0"/>
              </a:rPr>
              <a:t>Experimental Desig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6660232" y="6525364"/>
            <a:ext cx="1908212" cy="180000"/>
          </a:xfrm>
        </p:spPr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68444" y="6525364"/>
            <a:ext cx="143756" cy="180000"/>
          </a:xfrm>
        </p:spPr>
        <p:txBody>
          <a:bodyPr/>
          <a:lstStyle/>
          <a:p>
            <a:fld id="{B3811826-9277-4232-A2B5-17D05DFC7392}" type="slidenum">
              <a:rPr lang="en-US" smtClean="0"/>
              <a:pPr/>
              <a:t>15</a:t>
            </a:fld>
            <a:endParaRPr lang="en-US" dirty="0"/>
          </a:p>
        </p:txBody>
      </p:sp>
      <p:cxnSp>
        <p:nvCxnSpPr>
          <p:cNvPr id="11" name="Gerade Verbindung 10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32000" y="1520826"/>
            <a:ext cx="8280200" cy="4716462"/>
          </a:xfrm>
        </p:spPr>
        <p:txBody>
          <a:bodyPr/>
          <a:lstStyle/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/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 smtClean="0"/>
              <a:t>“Risk” and return judgments for stock indices:</a:t>
            </a:r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 smtClean="0"/>
          </a:p>
          <a:p>
            <a:pPr marL="1062900" lvl="4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/>
              <a:t>20 indices that represent </a:t>
            </a:r>
            <a:r>
              <a:rPr lang="en-US" dirty="0" smtClean="0"/>
              <a:t>countries/regions of </a:t>
            </a:r>
            <a:r>
              <a:rPr lang="en-US" dirty="0"/>
              <a:t>most traded currencies 	 </a:t>
            </a:r>
            <a:endParaRPr lang="en-US" dirty="0" smtClean="0"/>
          </a:p>
          <a:p>
            <a:pPr lvl="4" indent="0">
              <a:lnSpc>
                <a:spcPct val="100000"/>
              </a:lnSpc>
              <a:buNone/>
              <a:defRPr/>
            </a:pPr>
            <a:endParaRPr lang="en-US" sz="1700" dirty="0" smtClean="0">
              <a:latin typeface="Andale Mono" charset="0"/>
              <a:ea typeface="Andale Mono" charset="0"/>
              <a:cs typeface="Andale Mono" charset="0"/>
            </a:endParaRPr>
          </a:p>
          <a:p>
            <a:pPr lvl="4" indent="0">
              <a:lnSpc>
                <a:spcPct val="100000"/>
              </a:lnSpc>
              <a:buNone/>
              <a:defRPr/>
            </a:pPr>
            <a:endParaRPr lang="en-US" dirty="0"/>
          </a:p>
        </p:txBody>
      </p:sp>
      <p:sp>
        <p:nvSpPr>
          <p:cNvPr id="3" name="Textfeld 2"/>
          <p:cNvSpPr txBox="1"/>
          <p:nvPr/>
        </p:nvSpPr>
        <p:spPr>
          <a:xfrm>
            <a:off x="2244436" y="90054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2" name="Inhaltsplatzhalter 2"/>
          <p:cNvSpPr txBox="1">
            <a:spLocks/>
          </p:cNvSpPr>
          <p:nvPr/>
        </p:nvSpPr>
        <p:spPr>
          <a:xfrm>
            <a:off x="611560" y="1520825"/>
            <a:ext cx="8253040" cy="48688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2900" lvl="1" indent="-342900">
              <a:buFont typeface="+mj-lt"/>
              <a:buAutoNum type="arabicParenBoth"/>
            </a:pPr>
            <a:endParaRPr lang="en-US" dirty="0" smtClean="0"/>
          </a:p>
        </p:txBody>
      </p:sp>
      <p:grpSp>
        <p:nvGrpSpPr>
          <p:cNvPr id="6" name="Gruppierung 5"/>
          <p:cNvGrpSpPr>
            <a:grpSpLocks noChangeAspect="1"/>
          </p:cNvGrpSpPr>
          <p:nvPr/>
        </p:nvGrpSpPr>
        <p:grpSpPr>
          <a:xfrm>
            <a:off x="2006162" y="3212976"/>
            <a:ext cx="5131676" cy="2880000"/>
            <a:chOff x="677863" y="1084065"/>
            <a:chExt cx="7793306" cy="4373760"/>
          </a:xfrm>
        </p:grpSpPr>
        <p:sp>
          <p:nvSpPr>
            <p:cNvPr id="9" name="Freeform 382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410075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0" name="Freeform 333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12" name="Group 19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557781" y="3431475"/>
              <a:ext cx="296974" cy="174227"/>
              <a:chOff x="4498" y="2336"/>
              <a:chExt cx="347" cy="211"/>
            </a:xfrm>
            <a:solidFill>
              <a:schemeClr val="accent2"/>
            </a:solidFill>
          </p:grpSpPr>
          <p:sp>
            <p:nvSpPr>
              <p:cNvPr id="13" name="Freeform 21"/>
              <p:cNvSpPr>
                <a:spLocks/>
              </p:cNvSpPr>
              <p:nvPr/>
            </p:nvSpPr>
            <p:spPr bwMode="auto">
              <a:xfrm>
                <a:off x="4498" y="2336"/>
                <a:ext cx="256" cy="155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 dirty="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4" name="Freeform 20"/>
              <p:cNvSpPr>
                <a:spLocks/>
              </p:cNvSpPr>
              <p:nvPr/>
            </p:nvSpPr>
            <p:spPr bwMode="auto">
              <a:xfrm>
                <a:off x="4597" y="2420"/>
                <a:ext cx="248" cy="127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 dirty="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15" name="Freeform 4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" name="Freeform 5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" name="Freeform 7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" name="Freeform 8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" name="Freeform 9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" name="Freeform 10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" name="Freeform 11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" name="Freeform 13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" name="Freeform 14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" name="Freeform 15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" name="Freeform 17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" name="Freeform 18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9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0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7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8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9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0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1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2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3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4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A5D7D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45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46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7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48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2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3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4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5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6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7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8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9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0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1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2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3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64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65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66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67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68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69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70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71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72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73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74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75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76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7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8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79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80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</p:grpSpPr>
          <p:sp>
            <p:nvSpPr>
              <p:cNvPr id="81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82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83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84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5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6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7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8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89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0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1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2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3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4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5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6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7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8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9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00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101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102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03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04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05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06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07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08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09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10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111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2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3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4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5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6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7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8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19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0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1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2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3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124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125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26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27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28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29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30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31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32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33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34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35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36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37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38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39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40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41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42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43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44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45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46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47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48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49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50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51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52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53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54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55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grpSp>
          <p:nvGrpSpPr>
            <p:cNvPr id="156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</p:grpSpPr>
          <p:sp>
            <p:nvSpPr>
              <p:cNvPr id="157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58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59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60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61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62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63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64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65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166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7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8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9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0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171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172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73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74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175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176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7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8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9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0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1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2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3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4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5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6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7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8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9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0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1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2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3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4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5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6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7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8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9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0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1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2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3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4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5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6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7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8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9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0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1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2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3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4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5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6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9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0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1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2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3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4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5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6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7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8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9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0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1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2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3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r>
                <a:rPr lang="de-DE" sz="300" dirty="0" smtClean="0">
                  <a:latin typeface="Andale Mono" charset="0"/>
                  <a:ea typeface="Andale Mono" charset="0"/>
                  <a:cs typeface="Andale Mono" charset="0"/>
                </a:rPr>
                <a:t>OMX</a:t>
              </a:r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5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6" name="Freeform 230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7" name="Freeform 231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8" name="Freeform 232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830763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9" name="Freeform 233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0" name="Freeform 234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1" name="Freeform 235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2" name="Freeform 236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3" name="Freeform 237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4" name="Freeform 238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" name="Freeform 239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" name="Freeform 240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" name="Freeform 241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8" name="Freeform 242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9" name="Freeform 243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0" name="Freeform 244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1" name="Freeform 245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2" name="Freeform 246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3" name="Freeform 247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4" name="Freeform 248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5" name="Freeform 249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6" name="Freeform 250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7" name="Freeform 251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8" name="Freeform 252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9" name="Freeform 253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0" name="Freeform 254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1" name="Freeform 255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2" name="Freeform 256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3" name="Freeform 257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4" name="Freeform 258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5" name="Freeform 259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6" name="Freeform 260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7" name="Freeform 261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8" name="Freeform 262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69" name="Freeform 263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0" name="Freeform 264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1" name="Freeform 265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2" name="Freeform 266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3" name="Freeform 267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4" name="Freeform 268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5" name="Freeform 269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6" name="Freeform 270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7" name="Freeform 271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>
                <a:alpha val="47000"/>
              </a:srgb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8" name="Freeform 272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79" name="Freeform 273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0" name="Freeform 274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1" name="Freeform 275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2" name="Freeform 276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3" name="Freeform 277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4" name="Freeform 278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5" name="Freeform 279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6" name="Freeform 280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87" name="Freeform 281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288" name="Group 282"/>
            <p:cNvGrpSpPr>
              <a:grpSpLocks/>
            </p:cNvGrpSpPr>
            <p:nvPr>
              <p:custDataLst>
                <p:tags r:id="rId208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289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290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291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292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293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294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295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296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297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298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299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00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01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02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03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04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05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06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07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08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09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10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11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12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313" name="Freeform 307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4" name="Freeform 308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5" name="Freeform 309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6" name="Freeform 310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7" name="Freeform 311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8" name="Freeform 312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19" name="Freeform 313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0" name="Freeform 314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1" name="Freeform 315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2" name="Freeform 316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3" name="Freeform 317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4" name="Freeform 318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5" name="Freeform 319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6" name="Freeform 320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7" name="Freeform 321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8" name="Freeform 322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29" name="Freeform 323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0" name="Freeform 324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1" name="Freeform 325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2" name="Freeform 326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3" name="Line 327" descr="Horizontal dunkel"/>
            <p:cNvSpPr>
              <a:spLocks noChangeShapeType="1"/>
            </p:cNvSpPr>
            <p:nvPr>
              <p:custDataLst>
                <p:tags r:id="rId229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4" name="Freeform 328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5" name="Freeform 329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6" name="Freeform 330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7" name="Freeform 331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8" name="Freeform 332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39" name="Freeform 334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0" name="Freeform 335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1" name="Freeform 336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2" name="Freeform 337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A5D7D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3" name="Freeform 338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4" name="Freeform 339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5" name="Freeform 340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6" name="Freeform 341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7" name="Freeform 343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8" name="Freeform 344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49" name="Freeform 345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0" name="Freeform 346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1" name="Freeform 347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no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2" name="Freeform 348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3" name="Freeform 349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4" name="Freeform 350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5" name="Freeform 351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6" name="Freeform 352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7" name="Freeform 353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8" name="Freeform 354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59" name="Freeform 355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0" name="Freeform 356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1" name="Freeform 357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2" name="Freeform 358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848225" y="3173413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3" name="Line 359"/>
            <p:cNvSpPr>
              <a:spLocks noChangeShapeType="1"/>
            </p:cNvSpPr>
            <p:nvPr>
              <p:custDataLst>
                <p:tags r:id="rId259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4" name="Freeform 360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65" name="Freeform 361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366" name="Group 362"/>
            <p:cNvGrpSpPr>
              <a:grpSpLocks/>
            </p:cNvGrpSpPr>
            <p:nvPr>
              <p:custDataLst>
                <p:tags r:id="rId262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</p:grpSpPr>
          <p:sp>
            <p:nvSpPr>
              <p:cNvPr id="367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68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69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370" name="Freeform 366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71" name="Freeform 367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372" name="Group 368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373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74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75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76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77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78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79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80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81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82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83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384" name="Freeform 380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85" name="Freeform 381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386" name="Freeform 383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387" name="Group 384"/>
            <p:cNvGrpSpPr>
              <a:grpSpLocks/>
            </p:cNvGrpSpPr>
            <p:nvPr>
              <p:custDataLst>
                <p:tags r:id="rId269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388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89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0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1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2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3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grpSp>
          <p:nvGrpSpPr>
            <p:cNvPr id="394" name="Group 391"/>
            <p:cNvGrpSpPr>
              <a:grpSpLocks/>
            </p:cNvGrpSpPr>
            <p:nvPr>
              <p:custDataLst>
                <p:tags r:id="rId270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  <a:solidFill>
              <a:schemeClr val="accent2"/>
            </a:solidFill>
          </p:grpSpPr>
          <p:sp>
            <p:nvSpPr>
              <p:cNvPr id="395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6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7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8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399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0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1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2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3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4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5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6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7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8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09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0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1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2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3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4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5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6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7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8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19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0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1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2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3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4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5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6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7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8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29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0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1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2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3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4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5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36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 dirty="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437" name="Freeform 434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38" name="Freeform 435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39" name="Freeform 436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40" name="Freeform 437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441" name="Group 438"/>
            <p:cNvGrpSpPr>
              <a:grpSpLocks/>
            </p:cNvGrpSpPr>
            <p:nvPr>
              <p:custDataLst>
                <p:tags r:id="rId275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  <a:solidFill>
              <a:schemeClr val="accent2"/>
            </a:solidFill>
          </p:grpSpPr>
          <p:sp>
            <p:nvSpPr>
              <p:cNvPr id="442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43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444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 dirty="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445" name="Freeform 442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46" name="Freeform 443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47" name="Freeform 444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48" name="Freeform 445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49" name="Freeform 446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50" name="Freeform 447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51" name="Freeform 448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52" name="Freeform 449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53" name="Freeform 450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54" name="Freeform 451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55" name="Freeform 452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56" name="Freeform 453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57" name="Freeform 454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58" name="Freeform 455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59" name="Freeform 456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60" name="Freeform 457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603750" y="2662238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61" name="Freeform 458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62" name="Freeform 459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3883025" y="2047875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63" name="Freeform 460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64" name="Freeform 461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65" name="Freeform 462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66" name="Freeform 463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67" name="Freeform 464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68" name="Freeform 465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69" name="Freeform 466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867275" y="3521075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70" name="Freeform 467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71" name="Freeform 468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72" name="Freeform 469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73" name="Freeform 470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74" name="Freeform 472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75" name="Freeform 473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76" name="Freeform 474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77" name="Freeform 475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78" name="Freeform 476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79" name="Freeform 477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80" name="Freeform 478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81" name="Freeform 479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82" name="Freeform 480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83" name="Freeform 481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84" name="Freeform 482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85" name="Freeform 483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86" name="Freeform 484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87" name="Freeform 485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88" name="Freeform 486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89" name="Freeform 487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0" name="Freeform 488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1" name="Freeform 489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2" name="Freeform 490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3" name="Freeform 491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4" name="Freeform 492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5" name="Freeform 493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6" name="Freeform 494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7" name="Freeform 495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8" name="Freeform 496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499" name="Freeform 497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0" name="Freeform 498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1" name="Freeform 499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2" name="Freeform 500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3" name="Freeform 501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4" name="Freeform 502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5" name="Freeform 503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6" name="Line 504"/>
            <p:cNvSpPr>
              <a:spLocks noChangeShapeType="1"/>
            </p:cNvSpPr>
            <p:nvPr>
              <p:custDataLst>
                <p:tags r:id="rId337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7" name="Freeform 505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8" name="Freeform 506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09" name="Freeform 507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0" name="Freeform 508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1" name="Freeform 509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2" name="Freeform 510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3" name="Freeform 511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4" name="Freeform 512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5" name="Freeform 513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6" name="Freeform 514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7" name="Freeform 515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8" name="Freeform 516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19" name="Freeform 517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20" name="Freeform 518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21" name="Freeform 519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22" name="Freeform 520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23" name="Freeform 521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24" name="Freeform 522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25" name="Freeform 523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526" name="Group 524"/>
            <p:cNvGrpSpPr>
              <a:grpSpLocks/>
            </p:cNvGrpSpPr>
            <p:nvPr>
              <p:custDataLst>
                <p:tags r:id="rId357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527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28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529" name="Freeform 527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30" name="Freeform 528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31" name="Freeform 529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32" name="Freeform 530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33" name="Freeform 531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34" name="Freeform 532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35" name="Freeform 533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841875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36" name="Freeform 534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grpSp>
          <p:nvGrpSpPr>
            <p:cNvPr id="537" name="Group 535"/>
            <p:cNvGrpSpPr>
              <a:grpSpLocks/>
            </p:cNvGrpSpPr>
            <p:nvPr>
              <p:custDataLst>
                <p:tags r:id="rId366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  <a:solidFill>
              <a:schemeClr val="accent2"/>
            </a:solidFill>
          </p:grpSpPr>
          <p:sp>
            <p:nvSpPr>
              <p:cNvPr id="538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39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0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1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  <p:sp>
            <p:nvSpPr>
              <p:cNvPr id="542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 lang="de-DE" sz="300" dirty="0">
                  <a:latin typeface="Andale Mono" charset="0"/>
                  <a:ea typeface="Andale Mono" charset="0"/>
                  <a:cs typeface="Andale Mono" charset="0"/>
                </a:endParaRPr>
              </a:p>
            </p:txBody>
          </p:sp>
        </p:grpSp>
        <p:sp>
          <p:nvSpPr>
            <p:cNvPr id="543" name="Freeform 54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44" name="Freeform 54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45" name="Freeform 54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A5D7D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46" name="Freeform 54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47" name="Freeform 545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48" name="Freeform 546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49" name="Freeform 547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50" name="Freeform 548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51" name="Freeform 549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52" name="Freeform 550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53" name="Freeform 12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54" name="Textfeld 553"/>
            <p:cNvSpPr txBox="1"/>
            <p:nvPr/>
          </p:nvSpPr>
          <p:spPr>
            <a:xfrm>
              <a:off x="4357113" y="1084065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ts val="2200"/>
                </a:lnSpc>
              </a:pPr>
              <a:endParaRPr lang="de-DE" sz="300" dirty="0"/>
            </a:p>
          </p:txBody>
        </p:sp>
        <p:sp>
          <p:nvSpPr>
            <p:cNvPr id="555" name="Textfeld 554"/>
            <p:cNvSpPr txBox="1"/>
            <p:nvPr/>
          </p:nvSpPr>
          <p:spPr>
            <a:xfrm>
              <a:off x="7556769" y="2416370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ts val="2200"/>
                </a:lnSpc>
              </a:pPr>
              <a:endParaRPr lang="de-DE" sz="300" dirty="0"/>
            </a:p>
          </p:txBody>
        </p:sp>
        <p:sp>
          <p:nvSpPr>
            <p:cNvPr id="556" name="Freeform 16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148138" y="1914790"/>
              <a:ext cx="277812" cy="248973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557" name="Textfeld 556"/>
            <p:cNvSpPr txBox="1"/>
            <p:nvPr/>
          </p:nvSpPr>
          <p:spPr>
            <a:xfrm>
              <a:off x="1558977" y="4032354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ts val="2200"/>
                </a:lnSpc>
              </a:pPr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6082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3707904" y="1880902"/>
            <a:ext cx="1548172" cy="190813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43508" y="4482933"/>
            <a:ext cx="8856984" cy="216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16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lvl="1" indent="0">
              <a:buNone/>
            </a:pPr>
            <a:r>
              <a:rPr lang="en-US" b="1" dirty="0" smtClean="0">
                <a:latin typeface="Andale Mono" charset="0"/>
                <a:ea typeface="Andale Mono" charset="0"/>
                <a:cs typeface="Andale Mono" charset="0"/>
              </a:rPr>
              <a:t>Objective risk return correlation</a:t>
            </a:r>
            <a:endParaRPr lang="de-DE" b="1" dirty="0">
              <a:latin typeface="Andale Mono" charset="0"/>
              <a:ea typeface="Andale Mono" charset="0"/>
              <a:cs typeface="Andale Mono" charset="0"/>
            </a:endParaRPr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1953344"/>
            <a:ext cx="4572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1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marL="180000" lvl="1">
              <a:lnSpc>
                <a:spcPct val="100000"/>
              </a:lnSpc>
              <a:defRPr/>
            </a:pPr>
            <a:r>
              <a:rPr lang="en-US" sz="2300" dirty="0">
                <a:latin typeface="Andale Mono" charset="0"/>
                <a:ea typeface="Andale Mono" charset="0"/>
                <a:cs typeface="Andale Mono" charset="0"/>
              </a:rPr>
              <a:t>Experimental Desig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6660232" y="6525364"/>
            <a:ext cx="1908212" cy="180000"/>
          </a:xfrm>
        </p:spPr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68444" y="6525364"/>
            <a:ext cx="143756" cy="180000"/>
          </a:xfrm>
        </p:spPr>
        <p:txBody>
          <a:bodyPr/>
          <a:lstStyle/>
          <a:p>
            <a:fld id="{B3811826-9277-4232-A2B5-17D05DFC7392}" type="slidenum">
              <a:rPr lang="en-US" smtClean="0"/>
              <a:pPr/>
              <a:t>17</a:t>
            </a:fld>
            <a:endParaRPr lang="en-US" dirty="0"/>
          </a:p>
        </p:txBody>
      </p:sp>
      <p:cxnSp>
        <p:nvCxnSpPr>
          <p:cNvPr id="11" name="Gerade Verbindung 10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32000" y="1520826"/>
            <a:ext cx="8280200" cy="4716462"/>
          </a:xfrm>
        </p:spPr>
        <p:txBody>
          <a:bodyPr/>
          <a:lstStyle/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/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 smtClean="0"/>
              <a:t>“Risk” and return judgments for stock indices:</a:t>
            </a:r>
          </a:p>
          <a:p>
            <a:pPr marL="1062900" lvl="4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/>
              <a:t>20 indices that represent countries/regions of most traded </a:t>
            </a:r>
            <a:r>
              <a:rPr lang="en-US" dirty="0" smtClean="0"/>
              <a:t>currencies</a:t>
            </a:r>
          </a:p>
          <a:p>
            <a:pPr marL="1062900" lvl="4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/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 smtClean="0"/>
              <a:t>Between subjects manipulation of “risk” question:</a:t>
            </a:r>
          </a:p>
          <a:p>
            <a:pPr marL="2755350" lvl="5" indent="-285750">
              <a:buFont typeface="Symbol" charset="2"/>
              <a:buChar char="-"/>
              <a:defRPr/>
            </a:pPr>
            <a:r>
              <a:rPr lang="en-US" sz="1700" dirty="0" smtClean="0">
                <a:latin typeface="Andale Mono" charset="0"/>
                <a:ea typeface="Andale Mono" charset="0"/>
                <a:cs typeface="Andale Mono" charset="0"/>
              </a:rPr>
              <a:t>Fluctuation</a:t>
            </a:r>
          </a:p>
          <a:p>
            <a:pPr marL="2755350" lvl="5" indent="-285750">
              <a:buFont typeface="Symbol" charset="2"/>
              <a:buChar char="-"/>
              <a:defRPr/>
            </a:pPr>
            <a:r>
              <a:rPr lang="en-US" sz="1700" dirty="0" smtClean="0">
                <a:latin typeface="Andale Mono" charset="0"/>
                <a:ea typeface="Andale Mono" charset="0"/>
                <a:cs typeface="Andale Mono" charset="0"/>
              </a:rPr>
              <a:t>Risk </a:t>
            </a:r>
          </a:p>
          <a:p>
            <a:pPr lvl="4" indent="0">
              <a:lnSpc>
                <a:spcPct val="100000"/>
              </a:lnSpc>
              <a:buNone/>
              <a:defRPr/>
            </a:pPr>
            <a:endParaRPr lang="en-US" sz="1700" dirty="0" smtClean="0">
              <a:latin typeface="Andale Mono" charset="0"/>
              <a:ea typeface="Andale Mono" charset="0"/>
              <a:cs typeface="Andale Mono" charset="0"/>
            </a:endParaRPr>
          </a:p>
          <a:p>
            <a:pPr lvl="4" indent="0">
              <a:lnSpc>
                <a:spcPct val="100000"/>
              </a:lnSpc>
              <a:buNone/>
              <a:defRPr/>
            </a:pPr>
            <a:endParaRPr lang="en-US" dirty="0"/>
          </a:p>
        </p:txBody>
      </p:sp>
      <p:sp>
        <p:nvSpPr>
          <p:cNvPr id="3" name="Textfeld 2"/>
          <p:cNvSpPr txBox="1"/>
          <p:nvPr/>
        </p:nvSpPr>
        <p:spPr>
          <a:xfrm>
            <a:off x="2244436" y="90054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2" name="Inhaltsplatzhalter 2"/>
          <p:cNvSpPr txBox="1">
            <a:spLocks/>
          </p:cNvSpPr>
          <p:nvPr/>
        </p:nvSpPr>
        <p:spPr>
          <a:xfrm>
            <a:off x="611560" y="1520825"/>
            <a:ext cx="8253040" cy="48688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2900" lvl="1" indent="-342900">
              <a:buFont typeface="+mj-lt"/>
              <a:buAutoNum type="arabicParenBoth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261112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marL="180000" lvl="1">
              <a:lnSpc>
                <a:spcPct val="100000"/>
              </a:lnSpc>
              <a:defRPr/>
            </a:pPr>
            <a:r>
              <a:rPr lang="en-US" sz="2300" dirty="0">
                <a:latin typeface="Andale Mono" charset="0"/>
                <a:ea typeface="Andale Mono" charset="0"/>
                <a:cs typeface="Andale Mono" charset="0"/>
              </a:rPr>
              <a:t>Experimental Desig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6660232" y="6525364"/>
            <a:ext cx="1908212" cy="180000"/>
          </a:xfrm>
        </p:spPr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68444" y="6525364"/>
            <a:ext cx="143756" cy="180000"/>
          </a:xfrm>
        </p:spPr>
        <p:txBody>
          <a:bodyPr/>
          <a:lstStyle/>
          <a:p>
            <a:fld id="{B3811826-9277-4232-A2B5-17D05DFC7392}" type="slidenum">
              <a:rPr lang="en-US" smtClean="0"/>
              <a:pPr/>
              <a:t>18</a:t>
            </a:fld>
            <a:endParaRPr lang="en-US" dirty="0"/>
          </a:p>
        </p:txBody>
      </p:sp>
      <p:cxnSp>
        <p:nvCxnSpPr>
          <p:cNvPr id="11" name="Gerade Verbindung 10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32000" y="1520826"/>
            <a:ext cx="8280200" cy="4716462"/>
          </a:xfrm>
        </p:spPr>
        <p:txBody>
          <a:bodyPr/>
          <a:lstStyle/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/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/>
              <a:t>“Risk” and return judgments for stock indices:</a:t>
            </a:r>
          </a:p>
          <a:p>
            <a:pPr marL="1062900" lvl="4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/>
              <a:t>20 indices that represent countries/regions of most traded </a:t>
            </a:r>
            <a:r>
              <a:rPr lang="en-US" dirty="0" smtClean="0"/>
              <a:t>currencies</a:t>
            </a:r>
          </a:p>
          <a:p>
            <a:pPr marL="1062900" lvl="4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/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/>
              <a:t>Between subjects manipulation of “risk” question:</a:t>
            </a:r>
          </a:p>
          <a:p>
            <a:pPr marL="2755350" lvl="5" indent="-285750">
              <a:buFont typeface="Symbol" charset="2"/>
              <a:buChar char="-"/>
              <a:defRPr/>
            </a:pPr>
            <a:r>
              <a:rPr lang="en-US" sz="1700" dirty="0">
                <a:latin typeface="Andale Mono" charset="0"/>
                <a:ea typeface="Andale Mono" charset="0"/>
                <a:cs typeface="Andale Mono" charset="0"/>
              </a:rPr>
              <a:t>Fluctuation</a:t>
            </a:r>
          </a:p>
          <a:p>
            <a:pPr marL="2755350" lvl="5" indent="-285750">
              <a:buFont typeface="Symbol" charset="2"/>
              <a:buChar char="-"/>
              <a:defRPr/>
            </a:pPr>
            <a:r>
              <a:rPr lang="en-US" sz="1700" dirty="0">
                <a:latin typeface="Andale Mono" charset="0"/>
                <a:ea typeface="Andale Mono" charset="0"/>
                <a:cs typeface="Andale Mono" charset="0"/>
              </a:rPr>
              <a:t>Risk </a:t>
            </a:r>
          </a:p>
          <a:p>
            <a:pPr lvl="4" indent="0">
              <a:lnSpc>
                <a:spcPct val="100000"/>
              </a:lnSpc>
              <a:buNone/>
              <a:defRPr/>
            </a:pPr>
            <a:endParaRPr lang="en-US" sz="1200" dirty="0" smtClean="0">
              <a:latin typeface="Andale Mono" charset="0"/>
              <a:ea typeface="Andale Mono" charset="0"/>
              <a:cs typeface="Andale Mono" charset="0"/>
            </a:endParaRPr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 smtClean="0"/>
              <a:t>Between subjects: Graph vs. no graph</a:t>
            </a:r>
          </a:p>
          <a:p>
            <a:pPr marL="882900" lvl="3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 smtClean="0"/>
          </a:p>
          <a:p>
            <a:pPr marL="1062900" lvl="4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/>
          </a:p>
          <a:p>
            <a:pPr lvl="4" indent="0">
              <a:lnSpc>
                <a:spcPct val="100000"/>
              </a:lnSpc>
              <a:buNone/>
              <a:defRPr/>
            </a:pPr>
            <a:endParaRPr lang="en-US" dirty="0"/>
          </a:p>
        </p:txBody>
      </p:sp>
      <p:sp>
        <p:nvSpPr>
          <p:cNvPr id="3" name="Textfeld 2"/>
          <p:cNvSpPr txBox="1"/>
          <p:nvPr/>
        </p:nvSpPr>
        <p:spPr>
          <a:xfrm>
            <a:off x="2244436" y="90054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2" name="Inhaltsplatzhalter 2"/>
          <p:cNvSpPr txBox="1">
            <a:spLocks/>
          </p:cNvSpPr>
          <p:nvPr/>
        </p:nvSpPr>
        <p:spPr>
          <a:xfrm>
            <a:off x="611560" y="1520825"/>
            <a:ext cx="8253040" cy="48688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2900" lvl="1" indent="-342900">
              <a:buFont typeface="+mj-lt"/>
              <a:buAutoNum type="arabicParenBoth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43247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marL="180000" lvl="1">
              <a:lnSpc>
                <a:spcPct val="100000"/>
              </a:lnSpc>
              <a:defRPr/>
            </a:pPr>
            <a:r>
              <a:rPr lang="en-US" sz="2300" dirty="0" smtClean="0">
                <a:latin typeface="Andale Mono" charset="0"/>
                <a:ea typeface="Andale Mono" charset="0"/>
                <a:cs typeface="Andale Mono" charset="0"/>
              </a:rPr>
              <a:t>Half of the people saw graphs. </a:t>
            </a:r>
            <a:endParaRPr lang="en-US" sz="2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19</a:t>
            </a:fld>
            <a:endParaRPr lang="en-US" dirty="0"/>
          </a:p>
        </p:txBody>
      </p:sp>
      <p:cxnSp>
        <p:nvCxnSpPr>
          <p:cNvPr id="11" name="Gerade Verbindung 10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>
          <a:xfrm>
            <a:off x="2244436" y="90054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pic>
        <p:nvPicPr>
          <p:cNvPr id="19" name="Bild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93" y="2940975"/>
            <a:ext cx="3949714" cy="2880000"/>
          </a:xfrm>
          <a:prstGeom prst="rect">
            <a:avLst/>
          </a:prstGeom>
        </p:spPr>
      </p:pic>
      <p:sp>
        <p:nvSpPr>
          <p:cNvPr id="22" name="Inhaltsplatzhalter 2"/>
          <p:cNvSpPr txBox="1">
            <a:spLocks/>
          </p:cNvSpPr>
          <p:nvPr/>
        </p:nvSpPr>
        <p:spPr>
          <a:xfrm>
            <a:off x="611560" y="1520825"/>
            <a:ext cx="8253040" cy="48688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2900" lvl="1" indent="-342900">
              <a:buFont typeface="+mj-lt"/>
              <a:buAutoNum type="arabicParenBoth"/>
            </a:pPr>
            <a:endParaRPr lang="en-US" dirty="0" smtClean="0"/>
          </a:p>
        </p:txBody>
      </p:sp>
      <p:sp>
        <p:nvSpPr>
          <p:cNvPr id="16" name="Textfeld 15"/>
          <p:cNvSpPr txBox="1"/>
          <p:nvPr/>
        </p:nvSpPr>
        <p:spPr>
          <a:xfrm>
            <a:off x="298924" y="3284984"/>
            <a:ext cx="405000" cy="2396486"/>
          </a:xfrm>
          <a:prstGeom prst="rect">
            <a:avLst/>
          </a:prstGeom>
          <a:solidFill>
            <a:schemeClr val="bg1"/>
          </a:solidFill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de-DE" sz="1000" dirty="0" smtClean="0">
                <a:latin typeface="Andale Mono" charset="0"/>
                <a:ea typeface="Andale Mono" charset="0"/>
                <a:cs typeface="Andale Mono" charset="0"/>
              </a:rPr>
              <a:t>Return after 1 </a:t>
            </a:r>
            <a:r>
              <a:rPr lang="de-DE" sz="1000" dirty="0" err="1" smtClean="0">
                <a:latin typeface="Andale Mono" charset="0"/>
                <a:ea typeface="Andale Mono" charset="0"/>
                <a:cs typeface="Andale Mono" charset="0"/>
              </a:rPr>
              <a:t>year</a:t>
            </a:r>
            <a:r>
              <a:rPr lang="de-DE" sz="1000" dirty="0" smtClean="0">
                <a:latin typeface="Andale Mono" charset="0"/>
                <a:ea typeface="Andale Mono" charset="0"/>
                <a:cs typeface="Andale Mono" charset="0"/>
              </a:rPr>
              <a:t> in %</a:t>
            </a:r>
            <a:endParaRPr lang="de-DE" sz="10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298924" y="2312969"/>
            <a:ext cx="4192113" cy="3960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en-US" sz="1200" b="1" dirty="0"/>
              <a:t>Index from the USA </a:t>
            </a:r>
            <a:endParaRPr lang="en-US" sz="1200" b="1" dirty="0" smtClean="0"/>
          </a:p>
          <a:p>
            <a:pPr algn="ctr">
              <a:lnSpc>
                <a:spcPts val="2200"/>
              </a:lnSpc>
            </a:pPr>
            <a:r>
              <a:rPr lang="en-US" sz="1200" b="1" dirty="0" smtClean="0"/>
              <a:t>(</a:t>
            </a:r>
            <a:r>
              <a:rPr lang="en-US" sz="1200" b="1" dirty="0"/>
              <a:t>Dow Jones Industrial Average Index)</a:t>
            </a:r>
          </a:p>
          <a:p>
            <a:pPr algn="ctr">
              <a:lnSpc>
                <a:spcPts val="2200"/>
              </a:lnSpc>
            </a:pPr>
            <a:endParaRPr lang="de-DE" sz="1200" dirty="0"/>
          </a:p>
        </p:txBody>
      </p:sp>
      <p:sp>
        <p:nvSpPr>
          <p:cNvPr id="18" name="Textfeld 17"/>
          <p:cNvSpPr txBox="1"/>
          <p:nvPr/>
        </p:nvSpPr>
        <p:spPr>
          <a:xfrm>
            <a:off x="4581762" y="2312969"/>
            <a:ext cx="4192113" cy="3960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en-US" sz="1200" b="1" dirty="0"/>
              <a:t>Index from the USA </a:t>
            </a:r>
            <a:endParaRPr lang="en-US" sz="1200" b="1" dirty="0" smtClean="0"/>
          </a:p>
          <a:p>
            <a:pPr algn="ctr">
              <a:lnSpc>
                <a:spcPts val="2200"/>
              </a:lnSpc>
            </a:pPr>
            <a:r>
              <a:rPr lang="en-US" sz="1200" b="1" dirty="0" smtClean="0"/>
              <a:t>(</a:t>
            </a:r>
            <a:r>
              <a:rPr lang="en-US" sz="1200" b="1" dirty="0"/>
              <a:t>Dow Jones Industrial Average Index)</a:t>
            </a:r>
          </a:p>
          <a:p>
            <a:pPr algn="ctr">
              <a:lnSpc>
                <a:spcPts val="2200"/>
              </a:lnSpc>
            </a:pPr>
            <a:endParaRPr lang="de-DE" sz="1200" dirty="0"/>
          </a:p>
        </p:txBody>
      </p:sp>
      <p:sp>
        <p:nvSpPr>
          <p:cNvPr id="14" name="Textfeld 13"/>
          <p:cNvSpPr txBox="1"/>
          <p:nvPr/>
        </p:nvSpPr>
        <p:spPr>
          <a:xfrm>
            <a:off x="4319972" y="2510976"/>
            <a:ext cx="828092" cy="286214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200"/>
              </a:lnSpc>
            </a:pPr>
            <a:r>
              <a:rPr lang="de-DE" dirty="0"/>
              <a:t>v</a:t>
            </a:r>
            <a:r>
              <a:rPr lang="de-DE" dirty="0" smtClean="0"/>
              <a:t>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8412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Riskier investment options offer higher returns.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2</a:t>
            </a:fld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756" y="2259476"/>
            <a:ext cx="3937931" cy="3600000"/>
          </a:xfrm>
          <a:prstGeom prst="rect">
            <a:avLst/>
          </a:prstGeom>
        </p:spPr>
      </p:pic>
      <p:sp>
        <p:nvSpPr>
          <p:cNvPr id="18" name="Inhaltsplatzhalter 2"/>
          <p:cNvSpPr txBox="1">
            <a:spLocks/>
          </p:cNvSpPr>
          <p:nvPr/>
        </p:nvSpPr>
        <p:spPr>
          <a:xfrm>
            <a:off x="2271761" y="2727125"/>
            <a:ext cx="922611" cy="2448272"/>
          </a:xfrm>
          <a:prstGeom prst="rect">
            <a:avLst/>
          </a:prstGeom>
          <a:solidFill>
            <a:schemeClr val="bg1"/>
          </a:solidFill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Risk</a:t>
            </a:r>
          </a:p>
          <a:p>
            <a:pPr algn="ctr"/>
            <a:r>
              <a:rPr lang="en-US" dirty="0" smtClean="0"/>
              <a:t>(=Variance)</a:t>
            </a:r>
            <a:endParaRPr lang="en-US" dirty="0"/>
          </a:p>
        </p:txBody>
      </p:sp>
      <p:cxnSp>
        <p:nvCxnSpPr>
          <p:cNvPr id="19" name="Gerade Verbindung 18"/>
          <p:cNvCxnSpPr/>
          <p:nvPr/>
        </p:nvCxnSpPr>
        <p:spPr>
          <a:xfrm>
            <a:off x="3202667" y="2727125"/>
            <a:ext cx="0" cy="244827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2"/>
          <p:cNvSpPr txBox="1">
            <a:spLocks/>
          </p:cNvSpPr>
          <p:nvPr/>
        </p:nvSpPr>
        <p:spPr>
          <a:xfrm rot="5400000">
            <a:off x="4346497" y="4041069"/>
            <a:ext cx="792092" cy="3096346"/>
          </a:xfrm>
          <a:prstGeom prst="rect">
            <a:avLst/>
          </a:prstGeom>
          <a:solidFill>
            <a:schemeClr val="bg1"/>
          </a:solidFill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endParaRPr lang="en-US" dirty="0" smtClean="0"/>
          </a:p>
          <a:p>
            <a:r>
              <a:rPr lang="en-US" dirty="0" smtClean="0"/>
              <a:t>$	   $$	      $$$	</a:t>
            </a:r>
            <a:endParaRPr lang="en-US" dirty="0"/>
          </a:p>
          <a:p>
            <a:pPr algn="ctr"/>
            <a:r>
              <a:rPr lang="en-US" dirty="0" smtClean="0"/>
              <a:t>Return</a:t>
            </a:r>
            <a:endParaRPr lang="en-US" dirty="0"/>
          </a:p>
        </p:txBody>
      </p:sp>
      <p:cxnSp>
        <p:nvCxnSpPr>
          <p:cNvPr id="20" name="Gerade Verbindung 19"/>
          <p:cNvCxnSpPr/>
          <p:nvPr/>
        </p:nvCxnSpPr>
        <p:spPr>
          <a:xfrm>
            <a:off x="3194371" y="5193196"/>
            <a:ext cx="309634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Inhaltsplatzhalter 2"/>
          <p:cNvSpPr txBox="1">
            <a:spLocks/>
          </p:cNvSpPr>
          <p:nvPr/>
        </p:nvSpPr>
        <p:spPr>
          <a:xfrm rot="5400000">
            <a:off x="4531257" y="855278"/>
            <a:ext cx="683617" cy="3096346"/>
          </a:xfrm>
          <a:prstGeom prst="rect">
            <a:avLst/>
          </a:prstGeom>
          <a:solidFill>
            <a:schemeClr val="bg1"/>
          </a:solidFill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 smtClean="0"/>
          </a:p>
          <a:p>
            <a:pPr algn="ctr"/>
            <a:r>
              <a:rPr lang="en-US" dirty="0" smtClean="0"/>
              <a:t>SMI 20</a:t>
            </a:r>
          </a:p>
        </p:txBody>
      </p:sp>
    </p:spTree>
    <p:extLst>
      <p:ext uri="{BB962C8B-B14F-4D97-AF65-F5344CB8AC3E}">
        <p14:creationId xmlns:p14="http://schemas.microsoft.com/office/powerpoint/2010/main" val="178427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marL="180000" lvl="1">
              <a:lnSpc>
                <a:spcPct val="100000"/>
              </a:lnSpc>
              <a:defRPr/>
            </a:pPr>
            <a:r>
              <a:rPr lang="en-US" sz="2300" dirty="0">
                <a:latin typeface="Andale Mono" charset="0"/>
                <a:ea typeface="Andale Mono" charset="0"/>
                <a:cs typeface="Andale Mono" charset="0"/>
              </a:rPr>
              <a:t>Experimental Desig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6660232" y="6525364"/>
            <a:ext cx="1908212" cy="180000"/>
          </a:xfrm>
        </p:spPr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68444" y="6525364"/>
            <a:ext cx="143756" cy="180000"/>
          </a:xfrm>
        </p:spPr>
        <p:txBody>
          <a:bodyPr/>
          <a:lstStyle/>
          <a:p>
            <a:fld id="{B3811826-9277-4232-A2B5-17D05DFC7392}" type="slidenum">
              <a:rPr lang="en-US" smtClean="0"/>
              <a:pPr/>
              <a:t>20</a:t>
            </a:fld>
            <a:endParaRPr lang="en-US" dirty="0"/>
          </a:p>
        </p:txBody>
      </p:sp>
      <p:cxnSp>
        <p:nvCxnSpPr>
          <p:cNvPr id="11" name="Gerade Verbindung 10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32000" y="1520826"/>
            <a:ext cx="8280200" cy="4716462"/>
          </a:xfrm>
        </p:spPr>
        <p:txBody>
          <a:bodyPr/>
          <a:lstStyle/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/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/>
              <a:t>“Risk” and return judgments for stock indices:</a:t>
            </a:r>
          </a:p>
          <a:p>
            <a:pPr marL="1062900" lvl="4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/>
              <a:t>20 indices that represent countries/regions of most traded </a:t>
            </a:r>
            <a:r>
              <a:rPr lang="en-US" dirty="0" smtClean="0"/>
              <a:t>currencies</a:t>
            </a:r>
          </a:p>
          <a:p>
            <a:pPr marL="1062900" lvl="4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/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/>
              <a:t>Between subjects manipulation of “risk” question:</a:t>
            </a:r>
          </a:p>
          <a:p>
            <a:pPr marL="2755350" lvl="5" indent="-285750">
              <a:buFont typeface="Symbol" charset="2"/>
              <a:buChar char="-"/>
              <a:defRPr/>
            </a:pPr>
            <a:r>
              <a:rPr lang="en-US" sz="1700" dirty="0">
                <a:latin typeface="Andale Mono" charset="0"/>
                <a:ea typeface="Andale Mono" charset="0"/>
                <a:cs typeface="Andale Mono" charset="0"/>
              </a:rPr>
              <a:t>Fluctuation</a:t>
            </a:r>
          </a:p>
          <a:p>
            <a:pPr marL="2755350" lvl="5" indent="-285750">
              <a:buFont typeface="Symbol" charset="2"/>
              <a:buChar char="-"/>
              <a:defRPr/>
            </a:pPr>
            <a:r>
              <a:rPr lang="en-US" sz="1700" dirty="0">
                <a:latin typeface="Andale Mono" charset="0"/>
                <a:ea typeface="Andale Mono" charset="0"/>
                <a:cs typeface="Andale Mono" charset="0"/>
              </a:rPr>
              <a:t>Risk </a:t>
            </a:r>
          </a:p>
          <a:p>
            <a:pPr lvl="4" indent="0">
              <a:lnSpc>
                <a:spcPct val="100000"/>
              </a:lnSpc>
              <a:buNone/>
              <a:defRPr/>
            </a:pPr>
            <a:endParaRPr lang="en-US" sz="1200" dirty="0" smtClean="0">
              <a:latin typeface="Andale Mono" charset="0"/>
              <a:ea typeface="Andale Mono" charset="0"/>
              <a:cs typeface="Andale Mono" charset="0"/>
            </a:endParaRPr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 smtClean="0"/>
              <a:t>Between subjects: Graph vs. no graph</a:t>
            </a:r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 smtClean="0"/>
          </a:p>
          <a:p>
            <a:pPr marL="522900" lvl="1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 smtClean="0"/>
              <a:t>Affect judgments for countries/regions</a:t>
            </a:r>
          </a:p>
          <a:p>
            <a:pPr marL="1062900" lvl="4" indent="-342900">
              <a:lnSpc>
                <a:spcPct val="100000"/>
              </a:lnSpc>
              <a:buFont typeface="Arial" charset="0"/>
              <a:buChar char="•"/>
              <a:defRPr/>
            </a:pPr>
            <a:r>
              <a:rPr lang="en-US" dirty="0" smtClean="0"/>
              <a:t>Semantic differential scale: 4 dimensions</a:t>
            </a:r>
          </a:p>
          <a:p>
            <a:pPr marL="882900" lvl="3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/>
          </a:p>
          <a:p>
            <a:pPr lvl="3" indent="0">
              <a:lnSpc>
                <a:spcPct val="100000"/>
              </a:lnSpc>
              <a:buNone/>
              <a:defRPr/>
            </a:pPr>
            <a:r>
              <a:rPr lang="en-US" dirty="0" smtClean="0"/>
              <a:t>Good  		x	x	x	x	x	Bad</a:t>
            </a:r>
          </a:p>
          <a:p>
            <a:pPr lvl="3" indent="0">
              <a:lnSpc>
                <a:spcPct val="100000"/>
              </a:lnSpc>
              <a:buNone/>
              <a:defRPr/>
            </a:pPr>
            <a:r>
              <a:rPr lang="en-US" dirty="0" smtClean="0"/>
              <a:t>Interesting	x	x	x	x	x	Boring</a:t>
            </a:r>
          </a:p>
          <a:p>
            <a:pPr lvl="3" indent="0">
              <a:lnSpc>
                <a:spcPct val="100000"/>
              </a:lnSpc>
              <a:buNone/>
              <a:defRPr/>
            </a:pPr>
            <a:r>
              <a:rPr lang="en-US" dirty="0" smtClean="0"/>
              <a:t>Active		x	x	x	x	x	Passive</a:t>
            </a:r>
          </a:p>
          <a:p>
            <a:pPr lvl="3" indent="0">
              <a:lnSpc>
                <a:spcPct val="100000"/>
              </a:lnSpc>
              <a:buNone/>
              <a:defRPr/>
            </a:pPr>
            <a:r>
              <a:rPr lang="en-US" dirty="0" smtClean="0"/>
              <a:t>Strong</a:t>
            </a:r>
            <a:r>
              <a:rPr lang="en-US" dirty="0"/>
              <a:t>		x	x	x	x	x	</a:t>
            </a:r>
            <a:r>
              <a:rPr lang="en-US" dirty="0" smtClean="0"/>
              <a:t>Weak</a:t>
            </a:r>
            <a:endParaRPr lang="en-US" dirty="0"/>
          </a:p>
          <a:p>
            <a:pPr lvl="3" indent="0">
              <a:lnSpc>
                <a:spcPct val="100000"/>
              </a:lnSpc>
              <a:buNone/>
              <a:defRPr/>
            </a:pPr>
            <a:endParaRPr lang="en-US" dirty="0" smtClean="0"/>
          </a:p>
          <a:p>
            <a:pPr lvl="3" indent="0">
              <a:lnSpc>
                <a:spcPct val="100000"/>
              </a:lnSpc>
              <a:buNone/>
              <a:defRPr/>
            </a:pPr>
            <a:endParaRPr lang="en-US" dirty="0" smtClean="0"/>
          </a:p>
          <a:p>
            <a:pPr marL="882900" lvl="3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/>
          </a:p>
          <a:p>
            <a:pPr marL="882900" lvl="3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 smtClean="0"/>
          </a:p>
          <a:p>
            <a:pPr marL="1062900" lvl="4" indent="-342900">
              <a:lnSpc>
                <a:spcPct val="100000"/>
              </a:lnSpc>
              <a:buFont typeface="Arial" charset="0"/>
              <a:buChar char="•"/>
              <a:defRPr/>
            </a:pPr>
            <a:endParaRPr lang="en-US" dirty="0"/>
          </a:p>
          <a:p>
            <a:pPr lvl="4" indent="0">
              <a:lnSpc>
                <a:spcPct val="100000"/>
              </a:lnSpc>
              <a:buNone/>
              <a:defRPr/>
            </a:pPr>
            <a:endParaRPr lang="en-US" dirty="0"/>
          </a:p>
        </p:txBody>
      </p:sp>
      <p:sp>
        <p:nvSpPr>
          <p:cNvPr id="3" name="Textfeld 2"/>
          <p:cNvSpPr txBox="1"/>
          <p:nvPr/>
        </p:nvSpPr>
        <p:spPr>
          <a:xfrm>
            <a:off x="2244436" y="90054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2" name="Inhaltsplatzhalter 2"/>
          <p:cNvSpPr txBox="1">
            <a:spLocks/>
          </p:cNvSpPr>
          <p:nvPr/>
        </p:nvSpPr>
        <p:spPr>
          <a:xfrm>
            <a:off x="611560" y="1520825"/>
            <a:ext cx="8253040" cy="48688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2900" lvl="1" indent="-342900">
              <a:buFont typeface="+mj-lt"/>
              <a:buAutoNum type="arabicParenBoth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49816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Experimen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1799" y="1520826"/>
            <a:ext cx="7812609" cy="4716462"/>
          </a:xfrm>
        </p:spPr>
        <p:txBody>
          <a:bodyPr anchor="ctr"/>
          <a:lstStyle/>
          <a:p>
            <a:pPr marL="285750" indent="-285750">
              <a:lnSpc>
                <a:spcPct val="250000"/>
              </a:lnSpc>
              <a:buFont typeface="Arial" charset="0"/>
              <a:buChar char="•"/>
            </a:pPr>
            <a:r>
              <a:rPr lang="en-US" b="1" dirty="0" smtClean="0"/>
              <a:t>Online study (</a:t>
            </a:r>
            <a:r>
              <a:rPr lang="en-US" b="1" dirty="0" err="1" smtClean="0"/>
              <a:t>Clickworker</a:t>
            </a:r>
            <a:r>
              <a:rPr lang="en-US" b="1" dirty="0" smtClean="0"/>
              <a:t>)</a:t>
            </a:r>
          </a:p>
          <a:p>
            <a:pPr marL="285750" indent="-285750">
              <a:lnSpc>
                <a:spcPct val="250000"/>
              </a:lnSpc>
              <a:buFont typeface="Arial" charset="0"/>
              <a:buChar char="•"/>
            </a:pPr>
            <a:r>
              <a:rPr lang="en-US" b="1" dirty="0" smtClean="0"/>
              <a:t>238 </a:t>
            </a:r>
            <a:r>
              <a:rPr lang="en-US" b="1" dirty="0"/>
              <a:t>G</a:t>
            </a:r>
            <a:r>
              <a:rPr lang="en-US" b="1" dirty="0" smtClean="0"/>
              <a:t>erman speaking participants </a:t>
            </a:r>
          </a:p>
          <a:p>
            <a:pPr marL="285750" indent="-285750">
              <a:lnSpc>
                <a:spcPct val="250000"/>
              </a:lnSpc>
              <a:buFont typeface="Arial" charset="0"/>
              <a:buChar char="•"/>
            </a:pPr>
            <a:r>
              <a:rPr lang="en-US" b="1" dirty="0" smtClean="0"/>
              <a:t>Reimbursed for participation (4.50 Euros)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21</a:t>
            </a:fld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462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22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lvl="1" indent="0">
              <a:buNone/>
            </a:pPr>
            <a:r>
              <a:rPr lang="en-US" sz="2000" b="1" dirty="0" smtClean="0">
                <a:latin typeface="Andale Mono" charset="0"/>
                <a:ea typeface="Andale Mono" charset="0"/>
                <a:cs typeface="Andale Mono" charset="0"/>
              </a:rPr>
              <a:t>Results: Replication of Study 1</a:t>
            </a:r>
            <a:endParaRPr lang="de-DE" sz="2000" b="1" dirty="0">
              <a:latin typeface="Andale Mono" charset="0"/>
              <a:ea typeface="Andale Mono" charset="0"/>
              <a:cs typeface="Andale Mono" charset="0"/>
            </a:endParaRPr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997714" y="4337248"/>
            <a:ext cx="6516724" cy="208815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1583668" y="3465004"/>
            <a:ext cx="2520280" cy="187220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5004048" y="3465004"/>
            <a:ext cx="2736304" cy="187220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1223628" y="2669062"/>
            <a:ext cx="2880320" cy="230425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5148064" y="2813078"/>
            <a:ext cx="2952328" cy="216024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65074"/>
            <a:ext cx="8742857" cy="3060000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4283968" y="2132856"/>
            <a:ext cx="2160240" cy="392443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1999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23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lvl="1" indent="0">
              <a:buNone/>
            </a:pPr>
            <a:r>
              <a:rPr lang="en-US" sz="2000" b="1" dirty="0" smtClean="0">
                <a:latin typeface="Andale Mono" charset="0"/>
                <a:ea typeface="Andale Mono" charset="0"/>
                <a:cs typeface="Andale Mono" charset="0"/>
              </a:rPr>
              <a:t>Results: Subjective Risk-Return correlations</a:t>
            </a:r>
            <a:endParaRPr lang="de-DE" sz="2000" b="1" dirty="0">
              <a:latin typeface="Andale Mono" charset="0"/>
              <a:ea typeface="Andale Mono" charset="0"/>
              <a:cs typeface="Andale Mono" charset="0"/>
            </a:endParaRPr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997714" y="4337248"/>
            <a:ext cx="6516724" cy="208815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1583668" y="3465004"/>
            <a:ext cx="2520280" cy="187220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5004048" y="3465004"/>
            <a:ext cx="2736304" cy="187220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pic>
        <p:nvPicPr>
          <p:cNvPr id="8" name="Bild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2284" y="1683085"/>
            <a:ext cx="7663223" cy="4680000"/>
          </a:xfrm>
          <a:prstGeom prst="rect">
            <a:avLst/>
          </a:prstGeom>
        </p:spPr>
      </p:pic>
      <p:sp>
        <p:nvSpPr>
          <p:cNvPr id="9" name="Eckige Klammer links 8"/>
          <p:cNvSpPr/>
          <p:nvPr/>
        </p:nvSpPr>
        <p:spPr>
          <a:xfrm rot="5400000">
            <a:off x="3113838" y="2074063"/>
            <a:ext cx="180020" cy="1512168"/>
          </a:xfrm>
          <a:prstGeom prst="leftBracket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2411760" y="2393070"/>
            <a:ext cx="1548172" cy="243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de-DE" dirty="0" smtClean="0"/>
              <a:t>*</a:t>
            </a:r>
            <a:endParaRPr lang="de-DE" dirty="0"/>
          </a:p>
        </p:txBody>
      </p:sp>
      <p:sp>
        <p:nvSpPr>
          <p:cNvPr id="16" name="Eckige Klammer links 15"/>
          <p:cNvSpPr/>
          <p:nvPr/>
        </p:nvSpPr>
        <p:spPr>
          <a:xfrm rot="5400000">
            <a:off x="5726521" y="942330"/>
            <a:ext cx="211237" cy="3384376"/>
          </a:xfrm>
          <a:prstGeom prst="leftBracket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feld 17"/>
          <p:cNvSpPr txBox="1"/>
          <p:nvPr/>
        </p:nvSpPr>
        <p:spPr>
          <a:xfrm>
            <a:off x="4229962" y="2348880"/>
            <a:ext cx="3294366" cy="246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de-DE" dirty="0" smtClean="0"/>
              <a:t>*</a:t>
            </a:r>
            <a:endParaRPr lang="de-DE" dirty="0"/>
          </a:p>
        </p:txBody>
      </p:sp>
      <p:pic>
        <p:nvPicPr>
          <p:cNvPr id="19" name="Bild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5956" y="2075264"/>
            <a:ext cx="22032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39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24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lvl="1" indent="0">
              <a:buNone/>
            </a:pPr>
            <a:r>
              <a:rPr lang="en-US" sz="2000" b="1" dirty="0" smtClean="0">
                <a:latin typeface="Andale Mono" charset="0"/>
                <a:ea typeface="Andale Mono" charset="0"/>
                <a:cs typeface="Andale Mono" charset="0"/>
              </a:rPr>
              <a:t>Results: Subjective Risk-Return correlations</a:t>
            </a:r>
            <a:endParaRPr lang="de-DE" sz="2000" b="1" dirty="0">
              <a:latin typeface="Andale Mono" charset="0"/>
              <a:ea typeface="Andale Mono" charset="0"/>
              <a:cs typeface="Andale Mono" charset="0"/>
            </a:endParaRPr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997714" y="4337248"/>
            <a:ext cx="6516724" cy="208815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1583668" y="3465004"/>
            <a:ext cx="2520280" cy="187220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5004048" y="3465004"/>
            <a:ext cx="2736304" cy="187220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pic>
        <p:nvPicPr>
          <p:cNvPr id="8" name="Bild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2284" y="1683085"/>
            <a:ext cx="7663223" cy="4680000"/>
          </a:xfrm>
          <a:prstGeom prst="rect">
            <a:avLst/>
          </a:prstGeom>
        </p:spPr>
      </p:pic>
      <p:sp>
        <p:nvSpPr>
          <p:cNvPr id="9" name="Eckige Klammer links 8"/>
          <p:cNvSpPr/>
          <p:nvPr/>
        </p:nvSpPr>
        <p:spPr>
          <a:xfrm rot="5400000">
            <a:off x="3113838" y="2074063"/>
            <a:ext cx="180020" cy="1512168"/>
          </a:xfrm>
          <a:prstGeom prst="leftBracket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2411760" y="2393070"/>
            <a:ext cx="1548172" cy="243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de-DE" dirty="0" smtClean="0"/>
              <a:t>*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5256076" y="2636912"/>
            <a:ext cx="2880320" cy="255628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5956" y="2075264"/>
            <a:ext cx="22032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881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25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lvl="1" indent="0">
              <a:buNone/>
            </a:pPr>
            <a:r>
              <a:rPr lang="en-US" sz="2000" b="1" dirty="0" smtClean="0">
                <a:latin typeface="Andale Mono" charset="0"/>
                <a:ea typeface="Andale Mono" charset="0"/>
                <a:cs typeface="Andale Mono" charset="0"/>
              </a:rPr>
              <a:t>Results: Subjective Risk-Return correlations</a:t>
            </a:r>
            <a:endParaRPr lang="de-DE" sz="2000" b="1" dirty="0">
              <a:latin typeface="Andale Mono" charset="0"/>
              <a:ea typeface="Andale Mono" charset="0"/>
              <a:cs typeface="Andale Mono" charset="0"/>
            </a:endParaRPr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997714" y="4337248"/>
            <a:ext cx="6516724" cy="208815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1583668" y="3465004"/>
            <a:ext cx="2520280" cy="187220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5004048" y="3465004"/>
            <a:ext cx="2736304" cy="187220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pic>
        <p:nvPicPr>
          <p:cNvPr id="8" name="Bild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2284" y="1683085"/>
            <a:ext cx="7663223" cy="4680000"/>
          </a:xfrm>
          <a:prstGeom prst="rect">
            <a:avLst/>
          </a:prstGeom>
        </p:spPr>
      </p:pic>
      <p:sp>
        <p:nvSpPr>
          <p:cNvPr id="9" name="Eckige Klammer links 8"/>
          <p:cNvSpPr/>
          <p:nvPr/>
        </p:nvSpPr>
        <p:spPr>
          <a:xfrm rot="5400000">
            <a:off x="3113838" y="2074063"/>
            <a:ext cx="180020" cy="1512168"/>
          </a:xfrm>
          <a:prstGeom prst="leftBracket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2411760" y="2393070"/>
            <a:ext cx="1548172" cy="243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de-DE" dirty="0" smtClean="0"/>
              <a:t>*</a:t>
            </a:r>
            <a:endParaRPr lang="de-DE" dirty="0"/>
          </a:p>
        </p:txBody>
      </p:sp>
      <p:sp>
        <p:nvSpPr>
          <p:cNvPr id="16" name="Eckige Klammer links 15"/>
          <p:cNvSpPr/>
          <p:nvPr/>
        </p:nvSpPr>
        <p:spPr>
          <a:xfrm rot="5400000">
            <a:off x="5726521" y="942330"/>
            <a:ext cx="211237" cy="3384376"/>
          </a:xfrm>
          <a:prstGeom prst="leftBracket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feld 17"/>
          <p:cNvSpPr txBox="1"/>
          <p:nvPr/>
        </p:nvSpPr>
        <p:spPr>
          <a:xfrm>
            <a:off x="4229962" y="2348880"/>
            <a:ext cx="3294366" cy="246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de-DE" dirty="0" smtClean="0"/>
              <a:t>*</a:t>
            </a:r>
            <a:endParaRPr lang="de-DE" dirty="0"/>
          </a:p>
        </p:txBody>
      </p:sp>
      <p:pic>
        <p:nvPicPr>
          <p:cNvPr id="14" name="Bild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5956" y="2075264"/>
            <a:ext cx="220320" cy="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398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2555776" y="1880902"/>
            <a:ext cx="1548172" cy="190813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26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lvl="1" indent="0">
              <a:buNone/>
            </a:pPr>
            <a:r>
              <a:rPr lang="en-US" sz="2000" b="1" dirty="0" smtClean="0">
                <a:latin typeface="Andale Mono" charset="0"/>
                <a:ea typeface="Andale Mono" charset="0"/>
                <a:cs typeface="Andale Mono" charset="0"/>
              </a:rPr>
              <a:t>Affect as explanation for the negative risk-return correlations under uncertainty.</a:t>
            </a:r>
            <a:endParaRPr lang="de-DE" sz="2000" b="1" dirty="0">
              <a:latin typeface="Andale Mono" charset="0"/>
              <a:ea typeface="Andale Mono" charset="0"/>
              <a:cs typeface="Andale Mono" charset="0"/>
            </a:endParaRPr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6810" y="1809060"/>
            <a:ext cx="4937142" cy="2160000"/>
          </a:xfrm>
          <a:prstGeom prst="rect">
            <a:avLst/>
          </a:prstGeom>
        </p:spPr>
      </p:pic>
      <p:pic>
        <p:nvPicPr>
          <p:cNvPr id="15" name="Bild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1122" y="4185324"/>
            <a:ext cx="4937142" cy="2160000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 flipH="1">
            <a:off x="4308522" y="2051068"/>
            <a:ext cx="280635" cy="1332074"/>
          </a:xfrm>
          <a:prstGeom prst="rect">
            <a:avLst/>
          </a:prstGeom>
          <a:solidFill>
            <a:schemeClr val="bg1"/>
          </a:solidFill>
        </p:spPr>
        <p:txBody>
          <a:bodyPr vert="vert270"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r>
              <a:rPr lang="de-DE" sz="1000" dirty="0" err="1" smtClean="0"/>
              <a:t>Fluctuation</a:t>
            </a:r>
            <a:r>
              <a:rPr lang="de-DE" sz="1000" dirty="0" smtClean="0"/>
              <a:t> </a:t>
            </a:r>
            <a:r>
              <a:rPr lang="de-DE" sz="1000" dirty="0" err="1" smtClean="0"/>
              <a:t>Judgments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14167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3707904" y="1880902"/>
            <a:ext cx="1548172" cy="190813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27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lvl="1" indent="0">
              <a:buNone/>
            </a:pPr>
            <a:r>
              <a:rPr lang="en-US" sz="2000" b="1" dirty="0" smtClean="0">
                <a:latin typeface="Andale Mono" charset="0"/>
                <a:ea typeface="Andale Mono" charset="0"/>
                <a:cs typeface="Andale Mono" charset="0"/>
              </a:rPr>
              <a:t>Summary</a:t>
            </a:r>
            <a:endParaRPr lang="de-DE" sz="2000" b="1" dirty="0">
              <a:latin typeface="Andale Mono" charset="0"/>
              <a:ea typeface="Andale Mono" charset="0"/>
              <a:cs typeface="Andale Mono" charset="0"/>
            </a:endParaRPr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31799" y="1520826"/>
            <a:ext cx="7812609" cy="4716462"/>
          </a:xfrm>
        </p:spPr>
        <p:txBody>
          <a:bodyPr anchor="ctr"/>
          <a:lstStyle/>
          <a:p>
            <a:pPr marL="285750" indent="-285750">
              <a:lnSpc>
                <a:spcPct val="250000"/>
              </a:lnSpc>
              <a:buFont typeface="Arial" charset="0"/>
              <a:buChar char="•"/>
            </a:pPr>
            <a:r>
              <a:rPr lang="en-US" b="1" dirty="0" smtClean="0"/>
              <a:t>Affect moderates risk and return judgments under uncertainty </a:t>
            </a:r>
            <a:r>
              <a:rPr lang="mr-IN" b="1" dirty="0" smtClean="0"/>
              <a:t>–</a:t>
            </a:r>
            <a:r>
              <a:rPr lang="en-US" b="1" dirty="0" smtClean="0"/>
              <a:t> irrespective of question!</a:t>
            </a:r>
          </a:p>
          <a:p>
            <a:pPr marL="285750" indent="-285750">
              <a:lnSpc>
                <a:spcPct val="250000"/>
              </a:lnSpc>
              <a:buFont typeface="Arial" charset="0"/>
              <a:buChar char="•"/>
            </a:pPr>
            <a:r>
              <a:rPr lang="en-US" b="1" dirty="0" smtClean="0"/>
              <a:t>Implications for information search!?</a:t>
            </a:r>
          </a:p>
          <a:p>
            <a:pPr marL="285750" indent="-285750">
              <a:lnSpc>
                <a:spcPct val="250000"/>
              </a:lnSpc>
              <a:buFont typeface="Arial" charset="0"/>
              <a:buChar char="•"/>
            </a:pPr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1197956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3707904" y="1880902"/>
            <a:ext cx="1548172" cy="190813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28</a:t>
            </a:fld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lvl="1" indent="0">
              <a:buNone/>
            </a:pPr>
            <a:r>
              <a:rPr lang="en-US" sz="2000" b="1" dirty="0" smtClean="0">
                <a:latin typeface="Andale Mono" charset="0"/>
                <a:ea typeface="Andale Mono" charset="0"/>
                <a:cs typeface="Andale Mono" charset="0"/>
              </a:rPr>
              <a:t>Spoiler</a:t>
            </a:r>
            <a:endParaRPr lang="de-DE" sz="2000" b="1" dirty="0">
              <a:latin typeface="Andale Mono" charset="0"/>
              <a:ea typeface="Andale Mono" charset="0"/>
              <a:cs typeface="Andale Mono" charset="0"/>
            </a:endParaRPr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31799" y="1520826"/>
            <a:ext cx="7812609" cy="4716462"/>
          </a:xfrm>
        </p:spPr>
        <p:txBody>
          <a:bodyPr anchor="ctr"/>
          <a:lstStyle/>
          <a:p>
            <a:pPr algn="ctr">
              <a:lnSpc>
                <a:spcPct val="250000"/>
              </a:lnSpc>
            </a:pPr>
            <a:r>
              <a:rPr lang="en-US" sz="1500" b="1" dirty="0" smtClean="0">
                <a:solidFill>
                  <a:schemeClr val="bg2">
                    <a:lumMod val="50000"/>
                  </a:schemeClr>
                </a:solidFill>
              </a:rPr>
              <a:t>I only presented some data of our studies. </a:t>
            </a:r>
          </a:p>
          <a:p>
            <a:pPr algn="ctr">
              <a:lnSpc>
                <a:spcPct val="250000"/>
              </a:lnSpc>
            </a:pPr>
            <a:r>
              <a:rPr lang="en-US" sz="1500" b="1" dirty="0" smtClean="0">
                <a:solidFill>
                  <a:schemeClr val="bg2">
                    <a:lumMod val="50000"/>
                  </a:schemeClr>
                </a:solidFill>
              </a:rPr>
              <a:t>There is much more!</a:t>
            </a:r>
          </a:p>
          <a:p>
            <a:pPr algn="ctr">
              <a:lnSpc>
                <a:spcPct val="250000"/>
              </a:lnSpc>
            </a:pPr>
            <a:r>
              <a:rPr lang="en-US" sz="1500" b="1" dirty="0" smtClean="0">
                <a:solidFill>
                  <a:schemeClr val="bg2">
                    <a:lumMod val="50000"/>
                  </a:schemeClr>
                </a:solidFill>
              </a:rPr>
              <a:t>If you are interested in learning more about the relationship between risk &amp; loss perception or the role of financial literacy in risk-return judgments: Come and find me during the conference. </a:t>
            </a:r>
          </a:p>
          <a:p>
            <a:pPr algn="ctr">
              <a:lnSpc>
                <a:spcPct val="250000"/>
              </a:lnSpc>
            </a:pPr>
            <a:r>
              <a:rPr lang="en-US" sz="1500" b="1" dirty="0" smtClean="0">
                <a:solidFill>
                  <a:schemeClr val="bg2">
                    <a:lumMod val="50000"/>
                  </a:schemeClr>
                </a:solidFill>
              </a:rPr>
              <a:t>I am happy to share and discuss more results.</a:t>
            </a:r>
            <a:endParaRPr lang="en-US" b="1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>
              <a:lnSpc>
                <a:spcPct val="250000"/>
              </a:lnSpc>
            </a:pPr>
            <a:r>
              <a:rPr lang="en-US" sz="2000" b="1" dirty="0" smtClean="0"/>
              <a:t>Thank you for your attention </a:t>
            </a:r>
          </a:p>
        </p:txBody>
      </p:sp>
    </p:spTree>
    <p:extLst>
      <p:ext uri="{BB962C8B-B14F-4D97-AF65-F5344CB8AC3E}">
        <p14:creationId xmlns:p14="http://schemas.microsoft.com/office/powerpoint/2010/main" val="298586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marL="180000" lvl="1">
              <a:lnSpc>
                <a:spcPct val="100000"/>
              </a:lnSpc>
              <a:defRPr/>
            </a:pPr>
            <a:r>
              <a:rPr lang="en-US" sz="2300" dirty="0" smtClean="0">
                <a:latin typeface="Andale Mono" charset="0"/>
                <a:ea typeface="Andale Mono" charset="0"/>
                <a:cs typeface="Andale Mono" charset="0"/>
              </a:rPr>
              <a:t>Example</a:t>
            </a:r>
            <a:endParaRPr lang="en-US" sz="2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6660232" y="6525364"/>
            <a:ext cx="1908212" cy="180000"/>
          </a:xfrm>
        </p:spPr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68444" y="6525364"/>
            <a:ext cx="143756" cy="180000"/>
          </a:xfrm>
        </p:spPr>
        <p:txBody>
          <a:bodyPr/>
          <a:lstStyle/>
          <a:p>
            <a:fld id="{B3811826-9277-4232-A2B5-17D05DFC7392}" type="slidenum">
              <a:rPr lang="en-US" smtClean="0"/>
              <a:pPr/>
              <a:t>29</a:t>
            </a:fld>
            <a:endParaRPr lang="en-US" dirty="0"/>
          </a:p>
        </p:txBody>
      </p:sp>
      <p:cxnSp>
        <p:nvCxnSpPr>
          <p:cNvPr id="11" name="Gerade Verbindung 10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89" y="2420902"/>
            <a:ext cx="1790411" cy="1080000"/>
          </a:xfrm>
          <a:prstGeom prst="rect">
            <a:avLst/>
          </a:prstGeom>
        </p:spPr>
      </p:pic>
      <p:pic>
        <p:nvPicPr>
          <p:cNvPr id="14" name="Bild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103" y="4956016"/>
            <a:ext cx="1466182" cy="1080000"/>
          </a:xfrm>
          <a:prstGeom prst="rect">
            <a:avLst/>
          </a:prstGeom>
        </p:spPr>
      </p:pic>
      <p:pic>
        <p:nvPicPr>
          <p:cNvPr id="17" name="Inhaltsplatzhalter 16"/>
          <p:cNvPicPr>
            <a:picLocks noGrp="1" noChangeAspect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976" y="2384884"/>
            <a:ext cx="3115677" cy="3600000"/>
          </a:xfrm>
        </p:spPr>
      </p:pic>
      <p:pic>
        <p:nvPicPr>
          <p:cNvPr id="18" name="Bild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4188" y="2420902"/>
            <a:ext cx="2696824" cy="1080000"/>
          </a:xfrm>
          <a:prstGeom prst="rect">
            <a:avLst/>
          </a:prstGeom>
        </p:spPr>
      </p:pic>
      <p:sp>
        <p:nvSpPr>
          <p:cNvPr id="21" name="Textfeld 20"/>
          <p:cNvSpPr txBox="1"/>
          <p:nvPr/>
        </p:nvSpPr>
        <p:spPr>
          <a:xfrm>
            <a:off x="392508" y="1664803"/>
            <a:ext cx="2019252" cy="4554529"/>
          </a:xfrm>
          <a:prstGeom prst="rect">
            <a:avLst/>
          </a:prstGeom>
          <a:noFill/>
          <a:ln w="38100">
            <a:solidFill>
              <a:schemeClr val="tx1"/>
            </a:solidFill>
            <a:prstDash val="sysDash"/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en-US" sz="1400" dirty="0" smtClean="0">
                <a:latin typeface="Andale Mono" charset="0"/>
                <a:ea typeface="Andale Mono" charset="0"/>
                <a:cs typeface="Andale Mono" charset="0"/>
              </a:rPr>
              <a:t>Familiarization</a:t>
            </a:r>
          </a:p>
          <a:p>
            <a:pPr algn="ctr">
              <a:lnSpc>
                <a:spcPts val="2200"/>
              </a:lnSpc>
            </a:pPr>
            <a:r>
              <a:rPr lang="en-US" sz="1400" dirty="0" smtClean="0">
                <a:latin typeface="Andale Mono" charset="0"/>
                <a:ea typeface="Andale Mono" charset="0"/>
                <a:cs typeface="Andale Mono" charset="0"/>
              </a:rPr>
              <a:t>Block</a:t>
            </a:r>
            <a:endParaRPr lang="en-US" sz="1400" dirty="0">
              <a:latin typeface="Andale Mono" charset="0"/>
              <a:ea typeface="Andale Mono" charset="0"/>
              <a:cs typeface="Andale Mono" charset="0"/>
            </a:endParaRPr>
          </a:p>
        </p:txBody>
      </p:sp>
      <p:cxnSp>
        <p:nvCxnSpPr>
          <p:cNvPr id="23" name="Gerade Verbindung mit Pfeil 22"/>
          <p:cNvCxnSpPr/>
          <p:nvPr/>
        </p:nvCxnSpPr>
        <p:spPr>
          <a:xfrm>
            <a:off x="1424995" y="3645024"/>
            <a:ext cx="0" cy="1080120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669103" y="3609020"/>
            <a:ext cx="611876" cy="11161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200"/>
              </a:lnSpc>
            </a:pPr>
            <a:r>
              <a:rPr lang="en-US" sz="1500" dirty="0" smtClean="0">
                <a:latin typeface="Andale Mono" charset="0"/>
                <a:ea typeface="Andale Mono" charset="0"/>
                <a:cs typeface="Andale Mono" charset="0"/>
              </a:rPr>
              <a:t>1</a:t>
            </a:r>
          </a:p>
          <a:p>
            <a:pPr algn="ctr">
              <a:lnSpc>
                <a:spcPts val="2200"/>
              </a:lnSpc>
            </a:pPr>
            <a:r>
              <a:rPr lang="en-US" sz="1500" dirty="0" smtClean="0">
                <a:latin typeface="Andale Mono" charset="0"/>
                <a:ea typeface="Andale Mono" charset="0"/>
                <a:cs typeface="Andale Mono" charset="0"/>
              </a:rPr>
              <a:t>-</a:t>
            </a:r>
          </a:p>
          <a:p>
            <a:pPr algn="ctr">
              <a:lnSpc>
                <a:spcPts val="2200"/>
              </a:lnSpc>
            </a:pPr>
            <a:r>
              <a:rPr lang="en-US" sz="1500" dirty="0" smtClean="0">
                <a:latin typeface="Andale Mono" charset="0"/>
                <a:ea typeface="Andale Mono" charset="0"/>
                <a:cs typeface="Andale Mono" charset="0"/>
              </a:rPr>
              <a:t>20</a:t>
            </a:r>
            <a:endParaRPr lang="en-US" sz="15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2698066" y="1674977"/>
            <a:ext cx="3314094" cy="4554529"/>
          </a:xfrm>
          <a:prstGeom prst="rect">
            <a:avLst/>
          </a:prstGeom>
          <a:noFill/>
          <a:ln w="38100">
            <a:solidFill>
              <a:schemeClr val="tx1"/>
            </a:solidFill>
            <a:prstDash val="sysDash"/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en-US" sz="1400" dirty="0" smtClean="0">
                <a:latin typeface="Andale Mono" charset="0"/>
                <a:ea typeface="Andale Mono" charset="0"/>
                <a:cs typeface="Andale Mono" charset="0"/>
              </a:rPr>
              <a:t>„Risk“-Return</a:t>
            </a:r>
          </a:p>
          <a:p>
            <a:pPr algn="ctr">
              <a:lnSpc>
                <a:spcPts val="2200"/>
              </a:lnSpc>
            </a:pPr>
            <a:r>
              <a:rPr lang="en-US" sz="1400" dirty="0" smtClean="0">
                <a:latin typeface="Andale Mono" charset="0"/>
                <a:ea typeface="Andale Mono" charset="0"/>
                <a:cs typeface="Andale Mono" charset="0"/>
              </a:rPr>
              <a:t>Block</a:t>
            </a:r>
            <a:endParaRPr lang="en-US" sz="1400" dirty="0">
              <a:latin typeface="Andale Mono" charset="0"/>
              <a:ea typeface="Andale Mono" charset="0"/>
              <a:cs typeface="Andale Mono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7650548" y="3646271"/>
            <a:ext cx="0" cy="1080120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6894656" y="3610267"/>
            <a:ext cx="611876" cy="11161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200"/>
              </a:lnSpc>
            </a:pPr>
            <a:r>
              <a:rPr lang="en-US" sz="1500" dirty="0" smtClean="0">
                <a:latin typeface="Andale Mono" charset="0"/>
                <a:ea typeface="Andale Mono" charset="0"/>
                <a:cs typeface="Andale Mono" charset="0"/>
              </a:rPr>
              <a:t>1</a:t>
            </a:r>
          </a:p>
          <a:p>
            <a:pPr algn="ctr">
              <a:lnSpc>
                <a:spcPts val="2200"/>
              </a:lnSpc>
            </a:pPr>
            <a:r>
              <a:rPr lang="en-US" sz="1500" dirty="0" smtClean="0">
                <a:latin typeface="Andale Mono" charset="0"/>
                <a:ea typeface="Andale Mono" charset="0"/>
                <a:cs typeface="Andale Mono" charset="0"/>
              </a:rPr>
              <a:t>-</a:t>
            </a:r>
          </a:p>
          <a:p>
            <a:pPr algn="ctr">
              <a:lnSpc>
                <a:spcPts val="2200"/>
              </a:lnSpc>
            </a:pPr>
            <a:r>
              <a:rPr lang="en-US" sz="1500" dirty="0" smtClean="0">
                <a:latin typeface="Andale Mono" charset="0"/>
                <a:ea typeface="Andale Mono" charset="0"/>
                <a:cs typeface="Andale Mono" charset="0"/>
              </a:rPr>
              <a:t>20</a:t>
            </a:r>
            <a:endParaRPr lang="en-US" sz="15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523429" y="2280052"/>
            <a:ext cx="1757411" cy="3928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b="1" dirty="0" smtClean="0"/>
              <a:t>One Index from Canada (S&amp;P/Toronto</a:t>
            </a:r>
          </a:p>
          <a:p>
            <a:pPr algn="ctr"/>
            <a:r>
              <a:rPr lang="en-US" sz="700" b="1" dirty="0" smtClean="0"/>
              <a:t>Stock Exchange Composite Index)</a:t>
            </a:r>
            <a:endParaRPr lang="en-US" sz="700" b="1" dirty="0"/>
          </a:p>
        </p:txBody>
      </p:sp>
      <p:sp>
        <p:nvSpPr>
          <p:cNvPr id="31" name="Textfeld 30"/>
          <p:cNvSpPr txBox="1"/>
          <p:nvPr/>
        </p:nvSpPr>
        <p:spPr>
          <a:xfrm>
            <a:off x="884935" y="2834881"/>
            <a:ext cx="72008" cy="504056"/>
          </a:xfrm>
          <a:prstGeom prst="rect">
            <a:avLst/>
          </a:prstGeom>
          <a:solidFill>
            <a:schemeClr val="bg1"/>
          </a:solidFill>
        </p:spPr>
        <p:txBody>
          <a:bodyPr vert="vert270" wrap="square" lIns="0" tIns="0" rIns="0" bIns="0" rtlCol="0">
            <a:noAutofit/>
          </a:bodyPr>
          <a:lstStyle/>
          <a:p>
            <a:pPr algn="ctr"/>
            <a:r>
              <a:rPr lang="en-US" sz="300" dirty="0" smtClean="0"/>
              <a:t>Return after 1 Year</a:t>
            </a:r>
            <a:endParaRPr lang="en-US" sz="300" dirty="0"/>
          </a:p>
        </p:txBody>
      </p:sp>
      <p:sp>
        <p:nvSpPr>
          <p:cNvPr id="55" name="Textfeld 54"/>
          <p:cNvSpPr txBox="1"/>
          <p:nvPr/>
        </p:nvSpPr>
        <p:spPr>
          <a:xfrm>
            <a:off x="1037335" y="3414152"/>
            <a:ext cx="855712" cy="7718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300" dirty="0" smtClean="0"/>
              <a:t>year</a:t>
            </a:r>
            <a:endParaRPr lang="en-US" sz="300" dirty="0"/>
          </a:p>
        </p:txBody>
      </p:sp>
      <p:sp>
        <p:nvSpPr>
          <p:cNvPr id="56" name="Textfeld 55"/>
          <p:cNvSpPr txBox="1"/>
          <p:nvPr/>
        </p:nvSpPr>
        <p:spPr>
          <a:xfrm>
            <a:off x="880431" y="5350519"/>
            <a:ext cx="72008" cy="504056"/>
          </a:xfrm>
          <a:prstGeom prst="rect">
            <a:avLst/>
          </a:prstGeom>
          <a:solidFill>
            <a:schemeClr val="bg1"/>
          </a:solidFill>
        </p:spPr>
        <p:txBody>
          <a:bodyPr vert="vert270" wrap="square" lIns="0" tIns="0" rIns="0" bIns="0" rtlCol="0">
            <a:noAutofit/>
          </a:bodyPr>
          <a:lstStyle/>
          <a:p>
            <a:pPr algn="ctr"/>
            <a:r>
              <a:rPr lang="en-US" sz="300" dirty="0" smtClean="0"/>
              <a:t>Return after 1 Year</a:t>
            </a:r>
            <a:endParaRPr lang="en-US" sz="300" dirty="0"/>
          </a:p>
        </p:txBody>
      </p:sp>
      <p:sp>
        <p:nvSpPr>
          <p:cNvPr id="57" name="Textfeld 56"/>
          <p:cNvSpPr txBox="1"/>
          <p:nvPr/>
        </p:nvSpPr>
        <p:spPr>
          <a:xfrm>
            <a:off x="1032831" y="5929790"/>
            <a:ext cx="855712" cy="7718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300" dirty="0" smtClean="0"/>
              <a:t>year</a:t>
            </a:r>
            <a:endParaRPr lang="en-US" sz="300" dirty="0"/>
          </a:p>
        </p:txBody>
      </p:sp>
      <p:sp>
        <p:nvSpPr>
          <p:cNvPr id="58" name="Textfeld 57"/>
          <p:cNvSpPr txBox="1"/>
          <p:nvPr/>
        </p:nvSpPr>
        <p:spPr>
          <a:xfrm>
            <a:off x="551013" y="4902618"/>
            <a:ext cx="1757411" cy="3928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b="1" dirty="0" smtClean="0"/>
              <a:t>One Index from Australia (S&amp;P/ASX All Ordinaries Index)</a:t>
            </a:r>
            <a:endParaRPr lang="en-US" sz="700" b="1" dirty="0"/>
          </a:p>
        </p:txBody>
      </p:sp>
      <p:sp>
        <p:nvSpPr>
          <p:cNvPr id="59" name="Textfeld 58"/>
          <p:cNvSpPr txBox="1"/>
          <p:nvPr/>
        </p:nvSpPr>
        <p:spPr>
          <a:xfrm>
            <a:off x="2720137" y="2384884"/>
            <a:ext cx="3173083" cy="560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b="1" dirty="0" smtClean="0"/>
              <a:t>Index from the USA (Dow Jones Industrial Average Index)</a:t>
            </a:r>
          </a:p>
          <a:p>
            <a:pPr algn="ctr"/>
            <a:endParaRPr lang="en-US" sz="800" b="1" dirty="0"/>
          </a:p>
          <a:p>
            <a:pPr algn="ctr"/>
            <a:r>
              <a:rPr lang="en-US" sz="500" dirty="0" smtClean="0"/>
              <a:t>The Figure shows the returns of the </a:t>
            </a:r>
            <a:r>
              <a:rPr lang="en-US" sz="500" dirty="0"/>
              <a:t>US-</a:t>
            </a:r>
            <a:r>
              <a:rPr lang="en-US" sz="500" dirty="0" err="1"/>
              <a:t>american</a:t>
            </a:r>
            <a:r>
              <a:rPr lang="en-US" sz="500" dirty="0"/>
              <a:t> Dow Jones Industrial Average </a:t>
            </a:r>
            <a:r>
              <a:rPr lang="en-US" sz="500" dirty="0" smtClean="0"/>
              <a:t>Index</a:t>
            </a:r>
          </a:p>
          <a:p>
            <a:pPr algn="ctr"/>
            <a:r>
              <a:rPr lang="en-US" sz="500" i="1" dirty="0" smtClean="0">
                <a:solidFill>
                  <a:schemeClr val="bg2">
                    <a:lumMod val="75000"/>
                  </a:schemeClr>
                </a:solidFill>
              </a:rPr>
              <a:t>(Gain or Loss for selling the stock after one year in %)</a:t>
            </a:r>
            <a:endParaRPr lang="en-US" sz="500" i="1" dirty="0">
              <a:solidFill>
                <a:schemeClr val="bg2">
                  <a:lumMod val="75000"/>
                </a:schemeClr>
              </a:solidFill>
            </a:endParaRPr>
          </a:p>
          <a:p>
            <a:pPr algn="ctr"/>
            <a:endParaRPr lang="en-US" sz="500" dirty="0" smtClean="0"/>
          </a:p>
          <a:p>
            <a:pPr algn="ctr"/>
            <a:endParaRPr lang="en-US" sz="500" dirty="0"/>
          </a:p>
        </p:txBody>
      </p:sp>
      <p:sp>
        <p:nvSpPr>
          <p:cNvPr id="60" name="Textfeld 59"/>
          <p:cNvSpPr txBox="1"/>
          <p:nvPr/>
        </p:nvSpPr>
        <p:spPr>
          <a:xfrm>
            <a:off x="2804801" y="4329100"/>
            <a:ext cx="3173083" cy="60647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en-US" sz="600" b="1" dirty="0" smtClean="0"/>
              <a:t>How high is the average </a:t>
            </a:r>
            <a:r>
              <a:rPr lang="en-US" sz="600" b="1" u="sng" dirty="0" smtClean="0"/>
              <a:t>fluctuation of the returns </a:t>
            </a:r>
            <a:r>
              <a:rPr lang="en-US" sz="600" b="1" dirty="0" smtClean="0"/>
              <a:t>of an investment in the US-</a:t>
            </a:r>
            <a:r>
              <a:rPr lang="en-US" sz="600" b="1" dirty="0" err="1" smtClean="0"/>
              <a:t>american</a:t>
            </a:r>
            <a:r>
              <a:rPr lang="en-US" sz="600" b="1" dirty="0" smtClean="0"/>
              <a:t> Dow Jones Industrial Average Index</a:t>
            </a:r>
          </a:p>
          <a:p>
            <a:endParaRPr lang="en-US" sz="700" b="1" dirty="0" smtClean="0"/>
          </a:p>
          <a:p>
            <a:r>
              <a:rPr lang="en-US" sz="500" i="1" dirty="0" smtClean="0">
                <a:solidFill>
                  <a:schemeClr val="bg2">
                    <a:lumMod val="75000"/>
                  </a:schemeClr>
                </a:solidFill>
              </a:rPr>
              <a:t>Please think about the yearly returns </a:t>
            </a:r>
            <a:r>
              <a:rPr lang="en-US" sz="500" i="1" dirty="0">
                <a:solidFill>
                  <a:schemeClr val="bg2">
                    <a:lumMod val="75000"/>
                  </a:schemeClr>
                </a:solidFill>
              </a:rPr>
              <a:t>b</a:t>
            </a:r>
            <a:r>
              <a:rPr lang="en-US" sz="500" i="1" dirty="0" smtClean="0">
                <a:solidFill>
                  <a:schemeClr val="bg2">
                    <a:lumMod val="75000"/>
                  </a:schemeClr>
                </a:solidFill>
              </a:rPr>
              <a:t>etween 2007 and 2016 when you make your judgment.</a:t>
            </a:r>
          </a:p>
          <a:p>
            <a:endParaRPr lang="en-US" sz="500" i="1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500" dirty="0" smtClean="0"/>
              <a:t>Extremely low	                  Moderate	                            Extremely high</a:t>
            </a:r>
            <a:endParaRPr lang="en-US" sz="500" dirty="0"/>
          </a:p>
        </p:txBody>
      </p:sp>
      <p:sp>
        <p:nvSpPr>
          <p:cNvPr id="61" name="Textfeld 60"/>
          <p:cNvSpPr txBox="1"/>
          <p:nvPr/>
        </p:nvSpPr>
        <p:spPr>
          <a:xfrm>
            <a:off x="2787681" y="5157192"/>
            <a:ext cx="3173083" cy="60283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en-US" sz="600" b="1" dirty="0" smtClean="0"/>
              <a:t>How high is the </a:t>
            </a:r>
            <a:r>
              <a:rPr lang="en-US" sz="600" b="1" u="sng" dirty="0" smtClean="0"/>
              <a:t>average return </a:t>
            </a:r>
            <a:r>
              <a:rPr lang="en-US" sz="600" b="1" dirty="0" smtClean="0"/>
              <a:t>of an investment in the US-</a:t>
            </a:r>
            <a:r>
              <a:rPr lang="en-US" sz="600" b="1" dirty="0" err="1" smtClean="0"/>
              <a:t>american</a:t>
            </a:r>
            <a:r>
              <a:rPr lang="en-US" sz="600" b="1" dirty="0" smtClean="0"/>
              <a:t> Dow Jones Industrial Average Index</a:t>
            </a:r>
          </a:p>
          <a:p>
            <a:endParaRPr lang="en-US" sz="700" b="1" dirty="0" smtClean="0"/>
          </a:p>
          <a:p>
            <a:r>
              <a:rPr lang="en-US" sz="500" i="1" dirty="0" smtClean="0">
                <a:solidFill>
                  <a:schemeClr val="bg2">
                    <a:lumMod val="75000"/>
                  </a:schemeClr>
                </a:solidFill>
              </a:rPr>
              <a:t>Please think about the yearly returns </a:t>
            </a:r>
            <a:r>
              <a:rPr lang="en-US" sz="500" i="1" dirty="0">
                <a:solidFill>
                  <a:schemeClr val="bg2">
                    <a:lumMod val="75000"/>
                  </a:schemeClr>
                </a:solidFill>
              </a:rPr>
              <a:t>b</a:t>
            </a:r>
            <a:r>
              <a:rPr lang="en-US" sz="500" i="1" dirty="0" smtClean="0">
                <a:solidFill>
                  <a:schemeClr val="bg2">
                    <a:lumMod val="75000"/>
                  </a:schemeClr>
                </a:solidFill>
              </a:rPr>
              <a:t>etween 2007 and 2016 when you make your judgment.</a:t>
            </a:r>
          </a:p>
          <a:p>
            <a:endParaRPr lang="en-US" sz="500" i="1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500" dirty="0" smtClean="0"/>
              <a:t>Extremely large loss	                  No gain/loss	                            Extremely large gain</a:t>
            </a:r>
            <a:endParaRPr lang="en-US" sz="500" dirty="0"/>
          </a:p>
        </p:txBody>
      </p:sp>
      <p:sp>
        <p:nvSpPr>
          <p:cNvPr id="62" name="Textfeld 61"/>
          <p:cNvSpPr txBox="1"/>
          <p:nvPr/>
        </p:nvSpPr>
        <p:spPr>
          <a:xfrm>
            <a:off x="6084168" y="2319439"/>
            <a:ext cx="2430217" cy="560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b="1" dirty="0" smtClean="0"/>
              <a:t>Think about Canada</a:t>
            </a:r>
          </a:p>
          <a:p>
            <a:pPr algn="ctr"/>
            <a:endParaRPr lang="en-US" sz="800" b="1" dirty="0"/>
          </a:p>
          <a:p>
            <a:pPr algn="ctr"/>
            <a:r>
              <a:rPr lang="en-US" sz="500" dirty="0" smtClean="0"/>
              <a:t>How do you judge Canada on the following scales?</a:t>
            </a:r>
          </a:p>
          <a:p>
            <a:pPr algn="ctr"/>
            <a:endParaRPr lang="en-US" sz="500" dirty="0"/>
          </a:p>
        </p:txBody>
      </p:sp>
      <p:sp>
        <p:nvSpPr>
          <p:cNvPr id="32" name="Textfeld 31"/>
          <p:cNvSpPr txBox="1"/>
          <p:nvPr/>
        </p:nvSpPr>
        <p:spPr>
          <a:xfrm>
            <a:off x="6876256" y="2945484"/>
            <a:ext cx="360040" cy="4835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Interesting</a:t>
            </a:r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Good</a:t>
            </a:r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Active</a:t>
            </a:r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Strong</a:t>
            </a:r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/>
          </a:p>
        </p:txBody>
      </p:sp>
      <p:sp>
        <p:nvSpPr>
          <p:cNvPr id="63" name="Textfeld 62"/>
          <p:cNvSpPr txBox="1"/>
          <p:nvPr/>
        </p:nvSpPr>
        <p:spPr>
          <a:xfrm>
            <a:off x="8190868" y="2945484"/>
            <a:ext cx="433614" cy="4835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Boring</a:t>
            </a:r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Bad</a:t>
            </a:r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Passive</a:t>
            </a:r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Weak</a:t>
            </a:r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/>
          </a:p>
        </p:txBody>
      </p:sp>
      <p:pic>
        <p:nvPicPr>
          <p:cNvPr id="70" name="Bild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120" y="5157192"/>
            <a:ext cx="2696824" cy="1080000"/>
          </a:xfrm>
          <a:prstGeom prst="rect">
            <a:avLst/>
          </a:prstGeom>
        </p:spPr>
      </p:pic>
      <p:sp>
        <p:nvSpPr>
          <p:cNvPr id="71" name="Textfeld 70"/>
          <p:cNvSpPr txBox="1"/>
          <p:nvPr/>
        </p:nvSpPr>
        <p:spPr>
          <a:xfrm>
            <a:off x="6770188" y="5681774"/>
            <a:ext cx="360040" cy="4835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Interesting</a:t>
            </a:r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Good</a:t>
            </a:r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Active</a:t>
            </a:r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Strong</a:t>
            </a:r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 algn="r"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/>
          </a:p>
        </p:txBody>
      </p:sp>
      <p:sp>
        <p:nvSpPr>
          <p:cNvPr id="72" name="Textfeld 71"/>
          <p:cNvSpPr txBox="1"/>
          <p:nvPr/>
        </p:nvSpPr>
        <p:spPr>
          <a:xfrm>
            <a:off x="8282616" y="5681774"/>
            <a:ext cx="341866" cy="4835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Boring</a:t>
            </a:r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Bad</a:t>
            </a:r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Passive</a:t>
            </a:r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r>
              <a:rPr lang="en-US" sz="400" dirty="0" smtClean="0"/>
              <a:t>Weak</a:t>
            </a:r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 smtClean="0"/>
          </a:p>
          <a:p>
            <a:pPr>
              <a:lnSpc>
                <a:spcPts val="100"/>
              </a:lnSpc>
              <a:spcBef>
                <a:spcPts val="80"/>
              </a:spcBef>
              <a:spcAft>
                <a:spcPts val="80"/>
              </a:spcAft>
            </a:pPr>
            <a:endParaRPr lang="en-US" sz="400" dirty="0"/>
          </a:p>
        </p:txBody>
      </p:sp>
      <p:sp>
        <p:nvSpPr>
          <p:cNvPr id="73" name="Textfeld 72"/>
          <p:cNvSpPr txBox="1"/>
          <p:nvPr/>
        </p:nvSpPr>
        <p:spPr>
          <a:xfrm>
            <a:off x="6158120" y="5049180"/>
            <a:ext cx="2430217" cy="560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b="1" dirty="0" smtClean="0"/>
              <a:t>Think about Indonesia</a:t>
            </a:r>
          </a:p>
          <a:p>
            <a:pPr algn="ctr"/>
            <a:endParaRPr lang="en-US" sz="800" b="1" dirty="0"/>
          </a:p>
          <a:p>
            <a:pPr algn="ctr"/>
            <a:r>
              <a:rPr lang="en-US" sz="500" dirty="0" smtClean="0"/>
              <a:t>How do you judge Indonesia on the following scales?</a:t>
            </a:r>
          </a:p>
          <a:p>
            <a:pPr algn="ctr"/>
            <a:endParaRPr lang="en-US" sz="500" dirty="0"/>
          </a:p>
        </p:txBody>
      </p:sp>
      <p:sp>
        <p:nvSpPr>
          <p:cNvPr id="39" name="Textfeld 38"/>
          <p:cNvSpPr txBox="1"/>
          <p:nvPr/>
        </p:nvSpPr>
        <p:spPr>
          <a:xfrm>
            <a:off x="6279710" y="1682663"/>
            <a:ext cx="2447030" cy="4554529"/>
          </a:xfrm>
          <a:prstGeom prst="rect">
            <a:avLst/>
          </a:prstGeom>
          <a:noFill/>
          <a:ln w="38100">
            <a:solidFill>
              <a:schemeClr val="tx1"/>
            </a:solidFill>
            <a:prstDash val="sysDash"/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en-US" sz="1400" dirty="0" smtClean="0">
                <a:latin typeface="Andale Mono" charset="0"/>
                <a:ea typeface="Andale Mono" charset="0"/>
                <a:cs typeface="Andale Mono" charset="0"/>
              </a:rPr>
              <a:t>Affect</a:t>
            </a:r>
          </a:p>
          <a:p>
            <a:pPr algn="ctr">
              <a:lnSpc>
                <a:spcPts val="2200"/>
              </a:lnSpc>
            </a:pPr>
            <a:r>
              <a:rPr lang="en-US" sz="1400" dirty="0" smtClean="0">
                <a:latin typeface="Andale Mono" charset="0"/>
                <a:ea typeface="Andale Mono" charset="0"/>
                <a:cs typeface="Andale Mono" charset="0"/>
              </a:rPr>
              <a:t>Block</a:t>
            </a:r>
            <a:endParaRPr lang="en-US" sz="1400" dirty="0">
              <a:latin typeface="Andale Mono" charset="0"/>
              <a:ea typeface="Andale Mono" charset="0"/>
              <a:cs typeface="Andale Mon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170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Bild 4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1520" y="2097208"/>
            <a:ext cx="3132893" cy="3240000"/>
          </a:xfrm>
          <a:prstGeom prst="rect">
            <a:avLst/>
          </a:prstGeom>
        </p:spPr>
      </p:pic>
      <p:pic>
        <p:nvPicPr>
          <p:cNvPr id="44" name="Bild 4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595" y="2097220"/>
            <a:ext cx="3237322" cy="334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People assume that risks and returns are negatively correlated.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2636908"/>
            <a:ext cx="539599" cy="2448272"/>
          </a:xfrm>
        </p:spPr>
        <p:txBody>
          <a:bodyPr vert="vert270"/>
          <a:lstStyle/>
          <a:p>
            <a:pPr algn="ctr"/>
            <a:r>
              <a:rPr lang="en-US" dirty="0" smtClean="0"/>
              <a:t>Risk</a:t>
            </a:r>
          </a:p>
          <a:p>
            <a:pPr algn="ctr"/>
            <a:r>
              <a:rPr lang="en-US" dirty="0" smtClean="0"/>
              <a:t>(=Variance)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664837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1115616" y="2636908"/>
            <a:ext cx="0" cy="244827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1115616" y="5085180"/>
            <a:ext cx="309634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Inhaltsplatzhalter 2"/>
          <p:cNvSpPr txBox="1">
            <a:spLocks/>
          </p:cNvSpPr>
          <p:nvPr/>
        </p:nvSpPr>
        <p:spPr>
          <a:xfrm rot="5400000">
            <a:off x="2375756" y="3933055"/>
            <a:ext cx="576062" cy="3096346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$	   $$	      $$$	</a:t>
            </a:r>
            <a:endParaRPr lang="en-US" dirty="0"/>
          </a:p>
          <a:p>
            <a:pPr algn="ctr"/>
            <a:r>
              <a:rPr lang="en-US" dirty="0" smtClean="0"/>
              <a:t>Return</a:t>
            </a:r>
            <a:endParaRPr lang="en-US" dirty="0"/>
          </a:p>
        </p:txBody>
      </p:sp>
      <p:sp>
        <p:nvSpPr>
          <p:cNvPr id="23" name="Inhaltsplatzhalter 2"/>
          <p:cNvSpPr txBox="1">
            <a:spLocks/>
          </p:cNvSpPr>
          <p:nvPr/>
        </p:nvSpPr>
        <p:spPr>
          <a:xfrm>
            <a:off x="4879728" y="2636908"/>
            <a:ext cx="539599" cy="2448272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mtClean="0"/>
              <a:t>Risk</a:t>
            </a:r>
          </a:p>
          <a:p>
            <a:pPr algn="ctr"/>
            <a:r>
              <a:rPr lang="en-US" smtClean="0"/>
              <a:t>(=Variance)</a:t>
            </a:r>
            <a:endParaRPr lang="en-US" dirty="0"/>
          </a:p>
        </p:txBody>
      </p:sp>
      <p:cxnSp>
        <p:nvCxnSpPr>
          <p:cNvPr id="24" name="Gerade Verbindung 23"/>
          <p:cNvCxnSpPr/>
          <p:nvPr/>
        </p:nvCxnSpPr>
        <p:spPr>
          <a:xfrm>
            <a:off x="5563344" y="2636908"/>
            <a:ext cx="0" cy="2448272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563344" y="5085180"/>
            <a:ext cx="309634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Inhaltsplatzhalter 2"/>
          <p:cNvSpPr txBox="1">
            <a:spLocks/>
          </p:cNvSpPr>
          <p:nvPr/>
        </p:nvSpPr>
        <p:spPr>
          <a:xfrm rot="5400000">
            <a:off x="6715701" y="4041295"/>
            <a:ext cx="791631" cy="3096346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$	   $$	      $$$	</a:t>
            </a:r>
          </a:p>
          <a:p>
            <a:pPr algn="ctr"/>
            <a:r>
              <a:rPr lang="en-US" dirty="0"/>
              <a:t>Return</a:t>
            </a:r>
          </a:p>
        </p:txBody>
      </p:sp>
      <p:sp>
        <p:nvSpPr>
          <p:cNvPr id="33" name="Inhaltsplatzhalter 2"/>
          <p:cNvSpPr txBox="1">
            <a:spLocks/>
          </p:cNvSpPr>
          <p:nvPr/>
        </p:nvSpPr>
        <p:spPr>
          <a:xfrm rot="5400000">
            <a:off x="2393988" y="674919"/>
            <a:ext cx="539599" cy="3096346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Risk-return </a:t>
            </a:r>
            <a:r>
              <a:rPr lang="en-US" dirty="0" smtClean="0"/>
              <a:t>tradeoff</a:t>
            </a:r>
          </a:p>
          <a:p>
            <a:pPr algn="ctr"/>
            <a:r>
              <a:rPr lang="en-US" dirty="0" smtClean="0"/>
              <a:t>Objective</a:t>
            </a:r>
            <a:endParaRPr lang="en-US" dirty="0"/>
          </a:p>
        </p:txBody>
      </p:sp>
      <p:sp>
        <p:nvSpPr>
          <p:cNvPr id="35" name="Inhaltsplatzhalter 2"/>
          <p:cNvSpPr txBox="1">
            <a:spLocks/>
          </p:cNvSpPr>
          <p:nvPr/>
        </p:nvSpPr>
        <p:spPr>
          <a:xfrm rot="5400000">
            <a:off x="6858483" y="674919"/>
            <a:ext cx="539599" cy="3096346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Risk-return </a:t>
            </a:r>
            <a:r>
              <a:rPr lang="en-US" dirty="0" smtClean="0"/>
              <a:t>tradeoff</a:t>
            </a:r>
          </a:p>
          <a:p>
            <a:pPr algn="ctr"/>
            <a:r>
              <a:rPr lang="en-US" dirty="0" smtClean="0"/>
              <a:t>Subjectiv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4476142" y="1772816"/>
            <a:ext cx="38504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b="1" dirty="0" smtClean="0">
                <a:latin typeface="Andale Mono" charset="0"/>
                <a:ea typeface="Andale Mono" charset="0"/>
                <a:cs typeface="Andale Mono" charset="0"/>
              </a:rPr>
              <a:t>≠</a:t>
            </a:r>
            <a:endParaRPr lang="en-US" sz="26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374232" y="6068778"/>
            <a:ext cx="4572000" cy="33970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lnSpc>
                <a:spcPts val="2200"/>
              </a:lnSpc>
            </a:pPr>
            <a:r>
              <a:rPr lang="en-US" sz="1000" dirty="0" smtClean="0">
                <a:latin typeface="Andale Mono" charset="0"/>
                <a:ea typeface="Andale Mono" charset="0"/>
                <a:cs typeface="Andale Mono" charset="0"/>
              </a:rPr>
              <a:t>e.g., </a:t>
            </a:r>
            <a:r>
              <a:rPr lang="en-US" sz="1000" dirty="0" err="1" smtClean="0">
                <a:latin typeface="Andale Mono" charset="0"/>
                <a:ea typeface="Andale Mono" charset="0"/>
                <a:cs typeface="Andale Mono" charset="0"/>
              </a:rPr>
              <a:t>Kempf</a:t>
            </a:r>
            <a:r>
              <a:rPr lang="en-US" sz="1000" dirty="0">
                <a:latin typeface="Andale Mono" charset="0"/>
                <a:ea typeface="Andale Mono" charset="0"/>
                <a:cs typeface="Andale Mono" charset="0"/>
              </a:rPr>
              <a:t>, </a:t>
            </a:r>
            <a:r>
              <a:rPr lang="en-US" sz="1000" dirty="0" err="1">
                <a:latin typeface="Andale Mono" charset="0"/>
                <a:ea typeface="Andale Mono" charset="0"/>
                <a:cs typeface="Andale Mono" charset="0"/>
              </a:rPr>
              <a:t>Merkle</a:t>
            </a:r>
            <a:r>
              <a:rPr lang="en-US" sz="1000" dirty="0">
                <a:latin typeface="Andale Mono" charset="0"/>
                <a:ea typeface="Andale Mono" charset="0"/>
                <a:cs typeface="Andale Mono" charset="0"/>
              </a:rPr>
              <a:t> &amp; </a:t>
            </a:r>
            <a:r>
              <a:rPr lang="en-US" sz="1000" dirty="0" err="1">
                <a:latin typeface="Andale Mono" charset="0"/>
                <a:ea typeface="Andale Mono" charset="0"/>
                <a:cs typeface="Andale Mono" charset="0"/>
              </a:rPr>
              <a:t>Niessen-Ruenzi</a:t>
            </a:r>
            <a:r>
              <a:rPr lang="en-US" sz="1000" dirty="0">
                <a:latin typeface="Andale Mono" charset="0"/>
                <a:ea typeface="Andale Mono" charset="0"/>
                <a:cs typeface="Andale Mono" charset="0"/>
              </a:rPr>
              <a:t> (2014)</a:t>
            </a:r>
          </a:p>
        </p:txBody>
      </p:sp>
    </p:spTree>
    <p:extLst>
      <p:ext uri="{BB962C8B-B14F-4D97-AF65-F5344CB8AC3E}">
        <p14:creationId xmlns:p14="http://schemas.microsoft.com/office/powerpoint/2010/main" val="24429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marL="180000" lvl="1">
              <a:lnSpc>
                <a:spcPct val="100000"/>
              </a:lnSpc>
              <a:defRPr/>
            </a:pPr>
            <a:r>
              <a:rPr lang="en-US" sz="2300" dirty="0" smtClean="0">
                <a:latin typeface="Andale Mono" charset="0"/>
                <a:ea typeface="Andale Mono" charset="0"/>
                <a:cs typeface="Andale Mono" charset="0"/>
              </a:rPr>
              <a:t>Return - Affect</a:t>
            </a:r>
            <a:endParaRPr lang="en-US" sz="2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6660232" y="6525364"/>
            <a:ext cx="1908212" cy="180000"/>
          </a:xfrm>
        </p:spPr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68444" y="6525364"/>
            <a:ext cx="143756" cy="180000"/>
          </a:xfrm>
        </p:spPr>
        <p:txBody>
          <a:bodyPr/>
          <a:lstStyle/>
          <a:p>
            <a:fld id="{B3811826-9277-4232-A2B5-17D05DFC7392}" type="slidenum">
              <a:rPr lang="en-US" smtClean="0"/>
              <a:pPr/>
              <a:t>30</a:t>
            </a:fld>
            <a:endParaRPr lang="en-US" dirty="0"/>
          </a:p>
        </p:txBody>
      </p:sp>
      <p:cxnSp>
        <p:nvCxnSpPr>
          <p:cNvPr id="11" name="Gerade Verbindung 10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9841424" y="282069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060848"/>
            <a:ext cx="7315200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675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pPr marL="180000" lvl="1">
              <a:lnSpc>
                <a:spcPct val="100000"/>
              </a:lnSpc>
              <a:defRPr/>
            </a:pPr>
            <a:r>
              <a:rPr lang="en-US" sz="2300" dirty="0" smtClean="0">
                <a:latin typeface="Andale Mono" charset="0"/>
                <a:ea typeface="Andale Mono" charset="0"/>
                <a:cs typeface="Andale Mono" charset="0"/>
              </a:rPr>
              <a:t>Risk - Affect</a:t>
            </a:r>
            <a:endParaRPr lang="en-US" sz="2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6660232" y="6525364"/>
            <a:ext cx="1908212" cy="180000"/>
          </a:xfrm>
        </p:spPr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68444" y="6525364"/>
            <a:ext cx="143756" cy="180000"/>
          </a:xfrm>
        </p:spPr>
        <p:txBody>
          <a:bodyPr/>
          <a:lstStyle/>
          <a:p>
            <a:fld id="{B3811826-9277-4232-A2B5-17D05DFC7392}" type="slidenum">
              <a:rPr lang="en-US" smtClean="0"/>
              <a:pPr/>
              <a:t>31</a:t>
            </a:fld>
            <a:endParaRPr lang="en-US" dirty="0"/>
          </a:p>
        </p:txBody>
      </p:sp>
      <p:cxnSp>
        <p:nvCxnSpPr>
          <p:cNvPr id="11" name="Gerade Verbindung 10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9841424" y="282069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22895"/>
            <a:ext cx="9144000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87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anchor="ctr"/>
          <a:lstStyle/>
          <a:p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/>
          <a:p>
            <a:pPr algn="ctr"/>
            <a:fld id="{B3811826-9277-4232-A2B5-17D05DFC7392}" type="slidenum">
              <a:rPr lang="en-US" smtClean="0"/>
              <a:pPr algn="ctr"/>
              <a:t>32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32000" y="1520826"/>
            <a:ext cx="8280200" cy="4716462"/>
          </a:xfrm>
        </p:spPr>
        <p:txBody>
          <a:bodyPr anchor="ctr"/>
          <a:lstStyle/>
          <a:p>
            <a:pPr marL="522900" marR="0" lvl="1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dirty="0" smtClean="0"/>
          </a:p>
          <a:p>
            <a:pPr marL="522900" marR="0" lvl="1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dirty="0" smtClean="0"/>
          </a:p>
          <a:p>
            <a:pPr marL="522900" marR="0" lvl="1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dirty="0" smtClean="0"/>
          </a:p>
          <a:p>
            <a:pPr marL="522900" marR="0" lvl="1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dirty="0" smtClean="0"/>
          </a:p>
          <a:p>
            <a:pPr marL="522900" marR="0" lvl="1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dirty="0" smtClean="0"/>
          </a:p>
          <a:p>
            <a:pPr marL="522900" marR="0" lvl="1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dirty="0" smtClean="0"/>
          </a:p>
          <a:p>
            <a:pPr marL="522900" marR="0" lvl="1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dirty="0" smtClean="0"/>
          </a:p>
        </p:txBody>
      </p:sp>
      <p:grpSp>
        <p:nvGrpSpPr>
          <p:cNvPr id="7" name="Gruppierung 6"/>
          <p:cNvGrpSpPr/>
          <p:nvPr/>
        </p:nvGrpSpPr>
        <p:grpSpPr>
          <a:xfrm>
            <a:off x="1601670" y="797270"/>
            <a:ext cx="5940659" cy="5620062"/>
            <a:chOff x="1151621" y="293214"/>
            <a:chExt cx="6858000" cy="6422725"/>
          </a:xfrm>
        </p:grpSpPr>
        <p:pic>
          <p:nvPicPr>
            <p:cNvPr id="3" name="Bild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1369258" y="75577"/>
              <a:ext cx="6422725" cy="6858000"/>
            </a:xfrm>
            <a:prstGeom prst="rect">
              <a:avLst/>
            </a:prstGeom>
          </p:spPr>
        </p:pic>
        <p:sp>
          <p:nvSpPr>
            <p:cNvPr id="6" name="Textfeld 5"/>
            <p:cNvSpPr txBox="1"/>
            <p:nvPr/>
          </p:nvSpPr>
          <p:spPr>
            <a:xfrm>
              <a:off x="3095836" y="3284984"/>
              <a:ext cx="3204356" cy="6480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ts val="2200"/>
                </a:lnSpc>
              </a:pPr>
              <a:r>
                <a:rPr lang="en-US" sz="800" smtClean="0">
                  <a:latin typeface="Andale Mono" charset="0"/>
                  <a:ea typeface="Andale Mono" charset="0"/>
                  <a:cs typeface="Andale Mono" charset="0"/>
                </a:rPr>
                <a:t>Loss </a:t>
              </a:r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Probability</a:t>
              </a:r>
              <a:endParaRPr lang="en-US" sz="8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3095836" y="3933056"/>
              <a:ext cx="3204356" cy="86409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ts val="2200"/>
                </a:lnSpc>
              </a:pPr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Loss: Magnitude</a:t>
              </a:r>
              <a:endParaRPr lang="en-US" sz="8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3095836" y="4797152"/>
              <a:ext cx="3204356" cy="86409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ts val="2200"/>
                </a:lnSpc>
              </a:pPr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Loss: Probability &amp; Magnitude</a:t>
              </a:r>
              <a:endParaRPr lang="en-US" sz="8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3095836" y="5661248"/>
              <a:ext cx="3204356" cy="79208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ts val="2200"/>
                </a:lnSpc>
              </a:pPr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Loss: Not defined</a:t>
              </a:r>
              <a:endParaRPr lang="en-US" sz="8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3" name="Textfeld 12"/>
            <p:cNvSpPr txBox="1"/>
            <p:nvPr/>
          </p:nvSpPr>
          <p:spPr>
            <a:xfrm>
              <a:off x="4644008" y="1583435"/>
              <a:ext cx="1332148" cy="29746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Gain: Probability</a:t>
              </a:r>
              <a:endParaRPr lang="en-US" sz="8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4644008" y="1880828"/>
              <a:ext cx="1332148" cy="68400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ts val="2200"/>
                </a:lnSpc>
              </a:pPr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Gain: Magnitude</a:t>
              </a:r>
              <a:endParaRPr lang="en-US" sz="8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4644008" y="2508819"/>
              <a:ext cx="1332148" cy="21594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ts val="2200"/>
                </a:lnSpc>
              </a:pPr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Gain: P &amp; M</a:t>
              </a:r>
              <a:endParaRPr lang="en-US" sz="8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4644008" y="2816927"/>
              <a:ext cx="1332148" cy="10797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ts val="100"/>
                </a:lnSpc>
              </a:pPr>
              <a:r>
                <a:rPr lang="en-US" sz="600" dirty="0" smtClean="0">
                  <a:latin typeface="Andale Mono" charset="0"/>
                  <a:ea typeface="Andale Mono" charset="0"/>
                  <a:cs typeface="Andale Mono" charset="0"/>
                </a:rPr>
                <a:t>Gain: Undefined</a:t>
              </a:r>
              <a:endParaRPr lang="en-US" sz="6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2051720" y="1232771"/>
              <a:ext cx="936104" cy="90008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Uncertainty</a:t>
              </a:r>
            </a:p>
            <a:p>
              <a:pPr algn="ctr"/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/</a:t>
              </a:r>
            </a:p>
            <a:p>
              <a:pPr algn="ctr"/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Predictability</a:t>
              </a:r>
              <a:endParaRPr lang="en-US" sz="8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3113509" y="1988884"/>
              <a:ext cx="971676" cy="10080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Variance</a:t>
              </a:r>
            </a:p>
            <a:p>
              <a:pPr algn="ctr"/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/ </a:t>
              </a:r>
            </a:p>
            <a:p>
              <a:pPr algn="ctr"/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Fluctuation</a:t>
              </a:r>
              <a:endParaRPr lang="en-US" sz="8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2051720" y="3801146"/>
              <a:ext cx="576064" cy="52795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800" dirty="0" smtClean="0">
                  <a:latin typeface="Andale Mono" charset="0"/>
                  <a:ea typeface="Andale Mono" charset="0"/>
                  <a:cs typeface="Andale Mono" charset="0"/>
                </a:rPr>
                <a:t>inappropriate</a:t>
              </a:r>
              <a:endParaRPr lang="en-US" sz="8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cxnSp>
        <p:nvCxnSpPr>
          <p:cNvPr id="11" name="Gerade Verbindung 10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lvl="1" algn="l" rtl="0">
              <a:lnSpc>
                <a:spcPts val="2500"/>
              </a:lnSpc>
              <a:spcBef>
                <a:spcPct val="0"/>
              </a:spcBef>
            </a:pPr>
            <a:r>
              <a:rPr lang="en-US" b="1" dirty="0" smtClean="0">
                <a:latin typeface="Andale Mono" charset="0"/>
                <a:ea typeface="Andale Mono" charset="0"/>
                <a:cs typeface="Andale Mono" charset="0"/>
              </a:rPr>
              <a:t>What does it mean for you that a stock has “large risk“?</a:t>
            </a:r>
            <a:r>
              <a:rPr lang="en-US" dirty="0" smtClean="0">
                <a:effectLst/>
                <a:latin typeface="Andale Mono" charset="0"/>
                <a:ea typeface="Andale Mono" charset="0"/>
                <a:cs typeface="Andale Mono" charset="0"/>
              </a:rPr>
              <a:t/>
            </a:r>
            <a:br>
              <a:rPr lang="en-US" dirty="0" smtClean="0">
                <a:effectLst/>
                <a:latin typeface="Andale Mono" charset="0"/>
                <a:ea typeface="Andale Mono" charset="0"/>
                <a:cs typeface="Andale Mono" charset="0"/>
              </a:rPr>
            </a:br>
            <a:endParaRPr lang="en-US" b="1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3192260" y="3392996"/>
            <a:ext cx="2999920" cy="29249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/>
              <a:t>Loss</a:t>
            </a:r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4626908" y="1895135"/>
            <a:ext cx="1253897" cy="1231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/>
              <a:t>Gain</a:t>
            </a:r>
            <a:endParaRPr lang="de-DE" dirty="0" smtClean="0"/>
          </a:p>
        </p:txBody>
      </p:sp>
      <p:sp>
        <p:nvSpPr>
          <p:cNvPr id="23" name="Rechteck 22"/>
          <p:cNvSpPr/>
          <p:nvPr/>
        </p:nvSpPr>
        <p:spPr>
          <a:xfrm>
            <a:off x="3285823" y="2186476"/>
            <a:ext cx="910828" cy="10264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 smtClean="0"/>
              <a:t>Variance</a:t>
            </a:r>
            <a:r>
              <a:rPr lang="de-DE" sz="1100" dirty="0" smtClean="0"/>
              <a:t> / </a:t>
            </a:r>
            <a:r>
              <a:rPr lang="de-DE" sz="1100" dirty="0" err="1" smtClean="0"/>
              <a:t>Fluctuation</a:t>
            </a:r>
            <a:endParaRPr lang="de-DE" sz="1100" dirty="0" smtClean="0"/>
          </a:p>
        </p:txBody>
      </p:sp>
      <p:sp>
        <p:nvSpPr>
          <p:cNvPr id="24" name="Rechteck 23"/>
          <p:cNvSpPr/>
          <p:nvPr/>
        </p:nvSpPr>
        <p:spPr>
          <a:xfrm>
            <a:off x="2381370" y="1553206"/>
            <a:ext cx="865946" cy="90368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 smtClean="0"/>
              <a:t>Uncertainty</a:t>
            </a:r>
            <a:r>
              <a:rPr lang="de-DE" sz="800" dirty="0" smtClean="0"/>
              <a:t> / </a:t>
            </a:r>
            <a:r>
              <a:rPr lang="de-DE" sz="800" dirty="0" err="1" smtClean="0"/>
              <a:t>Predictability</a:t>
            </a:r>
            <a:endParaRPr lang="de-DE" sz="800" dirty="0" smtClean="0"/>
          </a:p>
        </p:txBody>
      </p:sp>
      <p:sp>
        <p:nvSpPr>
          <p:cNvPr id="25" name="Rechteck 24"/>
          <p:cNvSpPr/>
          <p:nvPr/>
        </p:nvSpPr>
        <p:spPr>
          <a:xfrm>
            <a:off x="2381370" y="3792745"/>
            <a:ext cx="606454" cy="6443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Other</a:t>
            </a:r>
          </a:p>
        </p:txBody>
      </p:sp>
    </p:spTree>
    <p:extLst>
      <p:ext uri="{BB962C8B-B14F-4D97-AF65-F5344CB8AC3E}">
        <p14:creationId xmlns:p14="http://schemas.microsoft.com/office/powerpoint/2010/main" val="947153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80000" lvl="1"/>
            <a:r>
              <a:rPr lang="en-US" dirty="0" err="1" smtClean="0">
                <a:latin typeface="Andale Mono" charset="0"/>
                <a:ea typeface="Andale Mono" charset="0"/>
                <a:cs typeface="Andale Mono" charset="0"/>
              </a:rPr>
              <a:t>Loss</a:t>
            </a:r>
            <a:r>
              <a:rPr lang="en-US" baseline="-25000" dirty="0" err="1" smtClean="0">
                <a:latin typeface="Andale Mono" charset="0"/>
                <a:ea typeface="Andale Mono" charset="0"/>
                <a:cs typeface="Andale Mono" charset="0"/>
              </a:rPr>
              <a:t>Objective</a:t>
            </a:r>
            <a:r>
              <a:rPr lang="en-US" dirty="0" smtClean="0">
                <a:latin typeface="Andale Mono" charset="0"/>
                <a:ea typeface="Andale Mono" charset="0"/>
                <a:cs typeface="Andale Mono" charset="0"/>
              </a:rPr>
              <a:t> explains </a:t>
            </a:r>
            <a:r>
              <a:rPr lang="en-US" dirty="0" err="1" smtClean="0">
                <a:latin typeface="Andale Mono" charset="0"/>
                <a:ea typeface="Andale Mono" charset="0"/>
                <a:cs typeface="Andale Mono" charset="0"/>
              </a:rPr>
              <a:t>risk</a:t>
            </a:r>
            <a:r>
              <a:rPr lang="en-US" baseline="-25000" dirty="0" err="1" smtClean="0">
                <a:latin typeface="Andale Mono" charset="0"/>
                <a:ea typeface="Andale Mono" charset="0"/>
                <a:cs typeface="Andale Mono" charset="0"/>
              </a:rPr>
              <a:t>subjective</a:t>
            </a:r>
            <a:r>
              <a:rPr lang="en-US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en-US" dirty="0" smtClean="0">
                <a:latin typeface="Andale Mono" charset="0"/>
                <a:ea typeface="Andale Mono" charset="0"/>
                <a:cs typeface="Andale Mono" charset="0"/>
              </a:rPr>
              <a:t>but not </a:t>
            </a:r>
            <a:r>
              <a:rPr lang="en-US" dirty="0" err="1" smtClean="0">
                <a:latin typeface="Andale Mono" charset="0"/>
                <a:ea typeface="Andale Mono" charset="0"/>
                <a:cs typeface="Andale Mono" charset="0"/>
              </a:rPr>
              <a:t>fluctuation</a:t>
            </a:r>
            <a:r>
              <a:rPr lang="en-US" baseline="-25000" dirty="0" err="1" smtClean="0">
                <a:latin typeface="Andale Mono" charset="0"/>
                <a:ea typeface="Andale Mono" charset="0"/>
                <a:cs typeface="Andale Mono" charset="0"/>
              </a:rPr>
              <a:t>subjective</a:t>
            </a:r>
            <a:r>
              <a:rPr lang="en-US" dirty="0" smtClean="0">
                <a:latin typeface="Andale Mono" charset="0"/>
                <a:ea typeface="Andale Mono" charset="0"/>
                <a:cs typeface="Andale Mono" charset="0"/>
              </a:rPr>
              <a:t>.</a:t>
            </a:r>
            <a:endParaRPr lang="en-US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 indent="0">
              <a:buNone/>
            </a:pPr>
            <a:endParaRPr lang="en-US" dirty="0" smtClean="0"/>
          </a:p>
          <a:p>
            <a:pPr lvl="1" indent="0">
              <a:buNone/>
            </a:pP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mtClean="0"/>
              <a:t>RR &amp; Affect 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de-CH" smtClean="0"/>
              <a:pPr/>
              <a:t>33</a:t>
            </a:fld>
            <a:endParaRPr lang="de-CH" dirty="0"/>
          </a:p>
        </p:txBody>
      </p:sp>
      <p:cxnSp>
        <p:nvCxnSpPr>
          <p:cNvPr id="7" name="Gerade Verbindung 6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2079057"/>
            <a:ext cx="2858472" cy="3600000"/>
          </a:xfrm>
          <a:prstGeom prst="rect">
            <a:avLst/>
          </a:prstGeom>
        </p:spPr>
      </p:pic>
      <p:graphicFrame>
        <p:nvGraphicFramePr>
          <p:cNvPr id="14" name="Tabelle 13"/>
          <p:cNvGraphicFramePr>
            <a:graphicFrameLocks noGrp="1"/>
          </p:cNvGraphicFramePr>
          <p:nvPr>
            <p:extLst/>
          </p:nvPr>
        </p:nvGraphicFramePr>
        <p:xfrm>
          <a:off x="4319973" y="2946576"/>
          <a:ext cx="4059410" cy="185420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5751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6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Scale</a:t>
                      </a:r>
                      <a:r>
                        <a:rPr lang="de-DE" sz="1400" b="0" baseline="-250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subjective</a:t>
                      </a:r>
                      <a:endParaRPr lang="de-DE" sz="1400" b="0" baseline="-250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Scale</a:t>
                      </a:r>
                      <a:r>
                        <a:rPr lang="de-DE" sz="1400" b="0" baseline="-250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objective</a:t>
                      </a:r>
                      <a:endParaRPr lang="de-DE" sz="1400" b="0" baseline="-250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baseline="-250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sr</a:t>
                      </a:r>
                      <a:endParaRPr lang="de-DE" sz="1400" b="0" baseline="-250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Risk</a:t>
                      </a:r>
                      <a:endParaRPr lang="de-DE" sz="1400" dirty="0" smtClean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err="1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Variance</a:t>
                      </a:r>
                      <a:endParaRPr lang="de-DE" sz="1400" dirty="0" smtClean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>
                          <a:solidFill>
                            <a:schemeClr val="tx1"/>
                          </a:solidFill>
                          <a:latin typeface="Andale Mono" charset="0"/>
                          <a:ea typeface="Andale Mono" charset="0"/>
                          <a:cs typeface="Andale Mono" charset="0"/>
                        </a:rPr>
                        <a:t>.21***</a:t>
                      </a:r>
                      <a:endParaRPr lang="de-DE" sz="1400" dirty="0">
                        <a:solidFill>
                          <a:schemeClr val="tx1"/>
                        </a:solidFill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e-DE" sz="16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EV(</a:t>
                      </a:r>
                      <a:r>
                        <a:rPr lang="de-DE" sz="1400" dirty="0" err="1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loss</a:t>
                      </a:r>
                      <a:r>
                        <a:rPr lang="de-DE" sz="14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)</a:t>
                      </a:r>
                      <a:endParaRPr lang="de-DE" sz="14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.17***</a:t>
                      </a:r>
                      <a:endParaRPr lang="de-DE" sz="14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 err="1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Fluctuation</a:t>
                      </a:r>
                      <a:endParaRPr lang="de-DE" sz="14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err="1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Variance</a:t>
                      </a:r>
                      <a:endParaRPr lang="de-DE" sz="1400" dirty="0" smtClean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.46***</a:t>
                      </a:r>
                      <a:endParaRPr lang="de-DE" sz="14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de-DE" sz="16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EV(</a:t>
                      </a:r>
                      <a:r>
                        <a:rPr lang="de-DE" sz="1400" dirty="0" err="1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loss</a:t>
                      </a:r>
                      <a:r>
                        <a:rPr lang="de-DE" sz="14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)</a:t>
                      </a:r>
                      <a:endParaRPr lang="de-DE" sz="14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.02</a:t>
                      </a:r>
                      <a:r>
                        <a:rPr lang="de-DE" sz="1400" baseline="-25000" dirty="0" smtClean="0">
                          <a:latin typeface="Andale Mono" charset="0"/>
                          <a:ea typeface="Andale Mono" charset="0"/>
                          <a:cs typeface="Andale Mono" charset="0"/>
                        </a:rPr>
                        <a:t>n.s.</a:t>
                      </a:r>
                      <a:endParaRPr lang="de-DE" sz="1400" baseline="-25000" dirty="0">
                        <a:latin typeface="Andale Mono" charset="0"/>
                        <a:ea typeface="Andale Mono" charset="0"/>
                        <a:cs typeface="Andale Mono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5" name="Rechteck 14"/>
          <p:cNvSpPr/>
          <p:nvPr/>
        </p:nvSpPr>
        <p:spPr>
          <a:xfrm>
            <a:off x="4319972" y="2384884"/>
            <a:ext cx="4047975" cy="374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200"/>
              </a:lnSpc>
            </a:pPr>
            <a:r>
              <a:rPr lang="de-DE" dirty="0">
                <a:latin typeface="Andale Mono" charset="0"/>
                <a:ea typeface="Andale Mono" charset="0"/>
                <a:cs typeface="Andale Mono" charset="0"/>
              </a:rPr>
              <a:t>Semipartial </a:t>
            </a:r>
            <a:r>
              <a:rPr lang="de-DE" dirty="0" err="1">
                <a:latin typeface="Andale Mono" charset="0"/>
                <a:ea typeface="Andale Mono" charset="0"/>
                <a:cs typeface="Andale Mono" charset="0"/>
              </a:rPr>
              <a:t>correlation</a:t>
            </a:r>
            <a:r>
              <a:rPr lang="de-DE" dirty="0">
                <a:latin typeface="Andale Mono" charset="0"/>
                <a:ea typeface="Andale Mono" charset="0"/>
                <a:cs typeface="Andale Mono" charset="0"/>
              </a:rPr>
              <a:t> </a:t>
            </a:r>
          </a:p>
        </p:txBody>
      </p:sp>
      <p:sp>
        <p:nvSpPr>
          <p:cNvPr id="13" name="Rechteck 12"/>
          <p:cNvSpPr/>
          <p:nvPr/>
        </p:nvSpPr>
        <p:spPr>
          <a:xfrm>
            <a:off x="4319972" y="4853942"/>
            <a:ext cx="405941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200"/>
              </a:lnSpc>
            </a:pP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(Proportion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of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variance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of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responses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accounted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for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by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Scale</a:t>
            </a:r>
            <a:r>
              <a:rPr lang="de-DE" sz="1000" baseline="-25000" dirty="0" err="1">
                <a:latin typeface="Andale Mono" charset="0"/>
                <a:ea typeface="Andale Mono" charset="0"/>
                <a:cs typeface="Andale Mono" charset="0"/>
              </a:rPr>
              <a:t>objective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after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second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Scale</a:t>
            </a:r>
            <a:r>
              <a:rPr lang="de-DE" sz="1000" baseline="-25000" dirty="0" err="1">
                <a:latin typeface="Andale Mono" charset="0"/>
                <a:ea typeface="Andale Mono" charset="0"/>
                <a:cs typeface="Andale Mono" charset="0"/>
              </a:rPr>
              <a:t>objective</a:t>
            </a:r>
            <a:r>
              <a:rPr lang="de-DE" sz="1000" baseline="-25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has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already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been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taken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into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 </a:t>
            </a:r>
            <a:r>
              <a:rPr lang="de-DE" sz="1000" dirty="0" err="1">
                <a:latin typeface="Andale Mono" charset="0"/>
                <a:ea typeface="Andale Mono" charset="0"/>
                <a:cs typeface="Andale Mono" charset="0"/>
              </a:rPr>
              <a:t>account</a:t>
            </a:r>
            <a:r>
              <a:rPr lang="de-DE" sz="1000" dirty="0">
                <a:latin typeface="Andale Mono" charset="0"/>
                <a:ea typeface="Andale Mono" charset="0"/>
                <a:cs typeface="Andale Mono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7147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0" name="Freeform 38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>
              <a:gd name="T0" fmla="*/ 899 w 903"/>
              <a:gd name="T1" fmla="*/ 291 h 759"/>
              <a:gd name="T2" fmla="*/ 863 w 903"/>
              <a:gd name="T3" fmla="*/ 388 h 759"/>
              <a:gd name="T4" fmla="*/ 832 w 903"/>
              <a:gd name="T5" fmla="*/ 414 h 759"/>
              <a:gd name="T6" fmla="*/ 761 w 903"/>
              <a:gd name="T7" fmla="*/ 507 h 759"/>
              <a:gd name="T8" fmla="*/ 720 w 903"/>
              <a:gd name="T9" fmla="*/ 561 h 759"/>
              <a:gd name="T10" fmla="*/ 647 w 903"/>
              <a:gd name="T11" fmla="*/ 613 h 759"/>
              <a:gd name="T12" fmla="*/ 583 w 903"/>
              <a:gd name="T13" fmla="*/ 666 h 759"/>
              <a:gd name="T14" fmla="*/ 557 w 903"/>
              <a:gd name="T15" fmla="*/ 698 h 759"/>
              <a:gd name="T16" fmla="*/ 520 w 903"/>
              <a:gd name="T17" fmla="*/ 705 h 759"/>
              <a:gd name="T18" fmla="*/ 496 w 903"/>
              <a:gd name="T19" fmla="*/ 710 h 759"/>
              <a:gd name="T20" fmla="*/ 485 w 903"/>
              <a:gd name="T21" fmla="*/ 727 h 759"/>
              <a:gd name="T22" fmla="*/ 372 w 903"/>
              <a:gd name="T23" fmla="*/ 727 h 759"/>
              <a:gd name="T24" fmla="*/ 339 w 903"/>
              <a:gd name="T25" fmla="*/ 732 h 759"/>
              <a:gd name="T26" fmla="*/ 316 w 903"/>
              <a:gd name="T27" fmla="*/ 732 h 759"/>
              <a:gd name="T28" fmla="*/ 286 w 903"/>
              <a:gd name="T29" fmla="*/ 727 h 759"/>
              <a:gd name="T30" fmla="*/ 263 w 903"/>
              <a:gd name="T31" fmla="*/ 737 h 759"/>
              <a:gd name="T32" fmla="*/ 146 w 903"/>
              <a:gd name="T33" fmla="*/ 759 h 759"/>
              <a:gd name="T34" fmla="*/ 116 w 903"/>
              <a:gd name="T35" fmla="*/ 753 h 759"/>
              <a:gd name="T36" fmla="*/ 90 w 903"/>
              <a:gd name="T37" fmla="*/ 739 h 759"/>
              <a:gd name="T38" fmla="*/ 76 w 903"/>
              <a:gd name="T39" fmla="*/ 719 h 759"/>
              <a:gd name="T40" fmla="*/ 79 w 903"/>
              <a:gd name="T41" fmla="*/ 697 h 759"/>
              <a:gd name="T42" fmla="*/ 75 w 903"/>
              <a:gd name="T43" fmla="*/ 628 h 759"/>
              <a:gd name="T44" fmla="*/ 79 w 903"/>
              <a:gd name="T45" fmla="*/ 608 h 759"/>
              <a:gd name="T46" fmla="*/ 68 w 903"/>
              <a:gd name="T47" fmla="*/ 572 h 759"/>
              <a:gd name="T48" fmla="*/ 22 w 903"/>
              <a:gd name="T49" fmla="*/ 516 h 759"/>
              <a:gd name="T50" fmla="*/ 12 w 903"/>
              <a:gd name="T51" fmla="*/ 484 h 759"/>
              <a:gd name="T52" fmla="*/ 10 w 903"/>
              <a:gd name="T53" fmla="*/ 439 h 759"/>
              <a:gd name="T54" fmla="*/ 0 w 903"/>
              <a:gd name="T55" fmla="*/ 377 h 759"/>
              <a:gd name="T56" fmla="*/ 39 w 903"/>
              <a:gd name="T57" fmla="*/ 377 h 759"/>
              <a:gd name="T58" fmla="*/ 57 w 903"/>
              <a:gd name="T59" fmla="*/ 396 h 759"/>
              <a:gd name="T60" fmla="*/ 94 w 903"/>
              <a:gd name="T61" fmla="*/ 410 h 759"/>
              <a:gd name="T62" fmla="*/ 135 w 903"/>
              <a:gd name="T63" fmla="*/ 411 h 759"/>
              <a:gd name="T64" fmla="*/ 160 w 903"/>
              <a:gd name="T65" fmla="*/ 400 h 759"/>
              <a:gd name="T66" fmla="*/ 182 w 903"/>
              <a:gd name="T67" fmla="*/ 372 h 759"/>
              <a:gd name="T68" fmla="*/ 197 w 903"/>
              <a:gd name="T69" fmla="*/ 229 h 759"/>
              <a:gd name="T70" fmla="*/ 204 w 903"/>
              <a:gd name="T71" fmla="*/ 184 h 759"/>
              <a:gd name="T72" fmla="*/ 210 w 903"/>
              <a:gd name="T73" fmla="*/ 168 h 759"/>
              <a:gd name="T74" fmla="*/ 239 w 903"/>
              <a:gd name="T75" fmla="*/ 178 h 759"/>
              <a:gd name="T76" fmla="*/ 245 w 903"/>
              <a:gd name="T77" fmla="*/ 238 h 759"/>
              <a:gd name="T78" fmla="*/ 247 w 903"/>
              <a:gd name="T79" fmla="*/ 274 h 759"/>
              <a:gd name="T80" fmla="*/ 256 w 903"/>
              <a:gd name="T81" fmla="*/ 287 h 759"/>
              <a:gd name="T82" fmla="*/ 287 w 903"/>
              <a:gd name="T83" fmla="*/ 295 h 759"/>
              <a:gd name="T84" fmla="*/ 312 w 903"/>
              <a:gd name="T85" fmla="*/ 293 h 759"/>
              <a:gd name="T86" fmla="*/ 333 w 903"/>
              <a:gd name="T87" fmla="*/ 272 h 759"/>
              <a:gd name="T88" fmla="*/ 350 w 903"/>
              <a:gd name="T89" fmla="*/ 234 h 759"/>
              <a:gd name="T90" fmla="*/ 368 w 903"/>
              <a:gd name="T91" fmla="*/ 201 h 759"/>
              <a:gd name="T92" fmla="*/ 387 w 903"/>
              <a:gd name="T93" fmla="*/ 191 h 759"/>
              <a:gd name="T94" fmla="*/ 414 w 903"/>
              <a:gd name="T95" fmla="*/ 193 h 759"/>
              <a:gd name="T96" fmla="*/ 451 w 903"/>
              <a:gd name="T97" fmla="*/ 208 h 759"/>
              <a:gd name="T98" fmla="*/ 478 w 903"/>
              <a:gd name="T99" fmla="*/ 216 h 759"/>
              <a:gd name="T100" fmla="*/ 512 w 903"/>
              <a:gd name="T101" fmla="*/ 213 h 759"/>
              <a:gd name="T102" fmla="*/ 531 w 903"/>
              <a:gd name="T103" fmla="*/ 200 h 759"/>
              <a:gd name="T104" fmla="*/ 564 w 903"/>
              <a:gd name="T105" fmla="*/ 127 h 759"/>
              <a:gd name="T106" fmla="*/ 620 w 903"/>
              <a:gd name="T107" fmla="*/ 80 h 759"/>
              <a:gd name="T108" fmla="*/ 732 w 903"/>
              <a:gd name="T109" fmla="*/ 11 h 759"/>
              <a:gd name="T110" fmla="*/ 806 w 903"/>
              <a:gd name="T111" fmla="*/ 3 h 759"/>
              <a:gd name="T112" fmla="*/ 830 w 903"/>
              <a:gd name="T113" fmla="*/ 6 h 759"/>
              <a:gd name="T114" fmla="*/ 854 w 903"/>
              <a:gd name="T115" fmla="*/ 35 h 759"/>
              <a:gd name="T116" fmla="*/ 873 w 903"/>
              <a:gd name="T117" fmla="*/ 71 h 759"/>
              <a:gd name="T118" fmla="*/ 883 w 903"/>
              <a:gd name="T119" fmla="*/ 107 h 759"/>
              <a:gd name="T120" fmla="*/ 868 w 903"/>
              <a:gd name="T121" fmla="*/ 207 h 759"/>
              <a:gd name="T122" fmla="*/ 830 w 903"/>
              <a:gd name="T123" fmla="*/ 204 h 759"/>
              <a:gd name="T124" fmla="*/ 826 w 903"/>
              <a:gd name="T125" fmla="*/ 281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81" name="Freeform 33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>
              <a:gd name="T0" fmla="*/ 516 w 585"/>
              <a:gd name="T1" fmla="*/ 28 h 493"/>
              <a:gd name="T2" fmla="*/ 495 w 585"/>
              <a:gd name="T3" fmla="*/ 55 h 493"/>
              <a:gd name="T4" fmla="*/ 512 w 585"/>
              <a:gd name="T5" fmla="*/ 93 h 493"/>
              <a:gd name="T6" fmla="*/ 534 w 585"/>
              <a:gd name="T7" fmla="*/ 130 h 493"/>
              <a:gd name="T8" fmla="*/ 573 w 585"/>
              <a:gd name="T9" fmla="*/ 177 h 493"/>
              <a:gd name="T10" fmla="*/ 580 w 585"/>
              <a:gd name="T11" fmla="*/ 205 h 493"/>
              <a:gd name="T12" fmla="*/ 547 w 585"/>
              <a:gd name="T13" fmla="*/ 204 h 493"/>
              <a:gd name="T14" fmla="*/ 516 w 585"/>
              <a:gd name="T15" fmla="*/ 233 h 493"/>
              <a:gd name="T16" fmla="*/ 506 w 585"/>
              <a:gd name="T17" fmla="*/ 246 h 493"/>
              <a:gd name="T18" fmla="*/ 518 w 585"/>
              <a:gd name="T19" fmla="*/ 271 h 493"/>
              <a:gd name="T20" fmla="*/ 525 w 585"/>
              <a:gd name="T21" fmla="*/ 294 h 493"/>
              <a:gd name="T22" fmla="*/ 505 w 585"/>
              <a:gd name="T23" fmla="*/ 308 h 493"/>
              <a:gd name="T24" fmla="*/ 459 w 585"/>
              <a:gd name="T25" fmla="*/ 323 h 493"/>
              <a:gd name="T26" fmla="*/ 443 w 585"/>
              <a:gd name="T27" fmla="*/ 354 h 493"/>
              <a:gd name="T28" fmla="*/ 445 w 585"/>
              <a:gd name="T29" fmla="*/ 415 h 493"/>
              <a:gd name="T30" fmla="*/ 430 w 585"/>
              <a:gd name="T31" fmla="*/ 454 h 493"/>
              <a:gd name="T32" fmla="*/ 400 w 585"/>
              <a:gd name="T33" fmla="*/ 472 h 493"/>
              <a:gd name="T34" fmla="*/ 370 w 585"/>
              <a:gd name="T35" fmla="*/ 488 h 493"/>
              <a:gd name="T36" fmla="*/ 341 w 585"/>
              <a:gd name="T37" fmla="*/ 493 h 493"/>
              <a:gd name="T38" fmla="*/ 329 w 585"/>
              <a:gd name="T39" fmla="*/ 487 h 493"/>
              <a:gd name="T40" fmla="*/ 327 w 585"/>
              <a:gd name="T41" fmla="*/ 471 h 493"/>
              <a:gd name="T42" fmla="*/ 304 w 585"/>
              <a:gd name="T43" fmla="*/ 451 h 493"/>
              <a:gd name="T44" fmla="*/ 251 w 585"/>
              <a:gd name="T45" fmla="*/ 454 h 493"/>
              <a:gd name="T46" fmla="*/ 219 w 585"/>
              <a:gd name="T47" fmla="*/ 462 h 493"/>
              <a:gd name="T48" fmla="*/ 176 w 585"/>
              <a:gd name="T49" fmla="*/ 440 h 493"/>
              <a:gd name="T50" fmla="*/ 122 w 585"/>
              <a:gd name="T51" fmla="*/ 436 h 493"/>
              <a:gd name="T52" fmla="*/ 95 w 585"/>
              <a:gd name="T53" fmla="*/ 429 h 493"/>
              <a:gd name="T54" fmla="*/ 81 w 585"/>
              <a:gd name="T55" fmla="*/ 366 h 493"/>
              <a:gd name="T56" fmla="*/ 58 w 585"/>
              <a:gd name="T57" fmla="*/ 310 h 493"/>
              <a:gd name="T58" fmla="*/ 35 w 585"/>
              <a:gd name="T59" fmla="*/ 292 h 493"/>
              <a:gd name="T60" fmla="*/ 12 w 585"/>
              <a:gd name="T61" fmla="*/ 260 h 493"/>
              <a:gd name="T62" fmla="*/ 5 w 585"/>
              <a:gd name="T63" fmla="*/ 204 h 493"/>
              <a:gd name="T64" fmla="*/ 31 w 585"/>
              <a:gd name="T65" fmla="*/ 153 h 493"/>
              <a:gd name="T66" fmla="*/ 54 w 585"/>
              <a:gd name="T67" fmla="*/ 141 h 493"/>
              <a:gd name="T68" fmla="*/ 75 w 585"/>
              <a:gd name="T69" fmla="*/ 152 h 493"/>
              <a:gd name="T70" fmla="*/ 97 w 585"/>
              <a:gd name="T71" fmla="*/ 187 h 493"/>
              <a:gd name="T72" fmla="*/ 129 w 585"/>
              <a:gd name="T73" fmla="*/ 214 h 493"/>
              <a:gd name="T74" fmla="*/ 170 w 585"/>
              <a:gd name="T75" fmla="*/ 213 h 493"/>
              <a:gd name="T76" fmla="*/ 221 w 585"/>
              <a:gd name="T77" fmla="*/ 189 h 493"/>
              <a:gd name="T78" fmla="*/ 233 w 585"/>
              <a:gd name="T79" fmla="*/ 172 h 493"/>
              <a:gd name="T80" fmla="*/ 288 w 585"/>
              <a:gd name="T81" fmla="*/ 178 h 493"/>
              <a:gd name="T82" fmla="*/ 326 w 585"/>
              <a:gd name="T83" fmla="*/ 181 h 493"/>
              <a:gd name="T84" fmla="*/ 337 w 585"/>
              <a:gd name="T85" fmla="*/ 170 h 493"/>
              <a:gd name="T86" fmla="*/ 362 w 585"/>
              <a:gd name="T87" fmla="*/ 158 h 493"/>
              <a:gd name="T88" fmla="*/ 383 w 585"/>
              <a:gd name="T89" fmla="*/ 136 h 493"/>
              <a:gd name="T90" fmla="*/ 415 w 585"/>
              <a:gd name="T91" fmla="*/ 79 h 493"/>
              <a:gd name="T92" fmla="*/ 427 w 585"/>
              <a:gd name="T93" fmla="*/ 25 h 493"/>
              <a:gd name="T94" fmla="*/ 447 w 585"/>
              <a:gd name="T95" fmla="*/ 6 h 493"/>
              <a:gd name="T96" fmla="*/ 479 w 585"/>
              <a:gd name="T97" fmla="*/ 2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067" name="Group 19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6557781" y="3431475"/>
            <a:ext cx="296974" cy="174227"/>
            <a:chOff x="4498" y="2336"/>
            <a:chExt cx="347" cy="211"/>
          </a:xfrm>
          <a:solidFill>
            <a:schemeClr val="accent2"/>
          </a:solidFill>
        </p:grpSpPr>
        <p:sp>
          <p:nvSpPr>
            <p:cNvPr id="2069" name="Freeform 21"/>
            <p:cNvSpPr>
              <a:spLocks/>
            </p:cNvSpPr>
            <p:nvPr/>
          </p:nvSpPr>
          <p:spPr bwMode="auto">
            <a:xfrm>
              <a:off x="4498" y="2336"/>
              <a:ext cx="256" cy="155"/>
            </a:xfrm>
            <a:custGeom>
              <a:avLst/>
              <a:gdLst>
                <a:gd name="T0" fmla="*/ 151 w 232"/>
                <a:gd name="T1" fmla="*/ 24 h 289"/>
                <a:gd name="T2" fmla="*/ 165 w 232"/>
                <a:gd name="T3" fmla="*/ 48 h 289"/>
                <a:gd name="T4" fmla="*/ 174 w 232"/>
                <a:gd name="T5" fmla="*/ 56 h 289"/>
                <a:gd name="T6" fmla="*/ 181 w 232"/>
                <a:gd name="T7" fmla="*/ 60 h 289"/>
                <a:gd name="T8" fmla="*/ 186 w 232"/>
                <a:gd name="T9" fmla="*/ 166 h 289"/>
                <a:gd name="T10" fmla="*/ 189 w 232"/>
                <a:gd name="T11" fmla="*/ 196 h 289"/>
                <a:gd name="T12" fmla="*/ 193 w 232"/>
                <a:gd name="T13" fmla="*/ 207 h 289"/>
                <a:gd name="T14" fmla="*/ 199 w 232"/>
                <a:gd name="T15" fmla="*/ 216 h 289"/>
                <a:gd name="T16" fmla="*/ 232 w 232"/>
                <a:gd name="T17" fmla="*/ 246 h 289"/>
                <a:gd name="T18" fmla="*/ 219 w 232"/>
                <a:gd name="T19" fmla="*/ 288 h 289"/>
                <a:gd name="T20" fmla="*/ 186 w 232"/>
                <a:gd name="T21" fmla="*/ 282 h 289"/>
                <a:gd name="T22" fmla="*/ 151 w 232"/>
                <a:gd name="T23" fmla="*/ 264 h 289"/>
                <a:gd name="T24" fmla="*/ 113 w 232"/>
                <a:gd name="T25" fmla="*/ 235 h 289"/>
                <a:gd name="T26" fmla="*/ 81 w 232"/>
                <a:gd name="T27" fmla="*/ 207 h 289"/>
                <a:gd name="T28" fmla="*/ 56 w 232"/>
                <a:gd name="T29" fmla="*/ 176 h 289"/>
                <a:gd name="T30" fmla="*/ 31 w 232"/>
                <a:gd name="T31" fmla="*/ 145 h 289"/>
                <a:gd name="T32" fmla="*/ 9 w 232"/>
                <a:gd name="T33" fmla="*/ 126 h 289"/>
                <a:gd name="T34" fmla="*/ 2 w 232"/>
                <a:gd name="T35" fmla="*/ 117 h 289"/>
                <a:gd name="T36" fmla="*/ 0 w 232"/>
                <a:gd name="T37" fmla="*/ 109 h 289"/>
                <a:gd name="T38" fmla="*/ 0 w 232"/>
                <a:gd name="T39" fmla="*/ 100 h 289"/>
                <a:gd name="T40" fmla="*/ 3 w 232"/>
                <a:gd name="T41" fmla="*/ 92 h 289"/>
                <a:gd name="T42" fmla="*/ 11 w 232"/>
                <a:gd name="T43" fmla="*/ 79 h 289"/>
                <a:gd name="T44" fmla="*/ 12 w 232"/>
                <a:gd name="T45" fmla="*/ 52 h 289"/>
                <a:gd name="T46" fmla="*/ 7 w 232"/>
                <a:gd name="T47" fmla="*/ 15 h 289"/>
                <a:gd name="T48" fmla="*/ 13 w 232"/>
                <a:gd name="T49" fmla="*/ 0 h 289"/>
                <a:gd name="T50" fmla="*/ 26 w 232"/>
                <a:gd name="T51" fmla="*/ 3 h 289"/>
                <a:gd name="T52" fmla="*/ 42 w 232"/>
                <a:gd name="T53" fmla="*/ 10 h 289"/>
                <a:gd name="T54" fmla="*/ 59 w 232"/>
                <a:gd name="T55" fmla="*/ 21 h 289"/>
                <a:gd name="T56" fmla="*/ 73 w 232"/>
                <a:gd name="T57" fmla="*/ 28 h 289"/>
                <a:gd name="T58" fmla="*/ 81 w 232"/>
                <a:gd name="T59" fmla="*/ 31 h 289"/>
                <a:gd name="T60" fmla="*/ 91 w 232"/>
                <a:gd name="T61" fmla="*/ 31 h 289"/>
                <a:gd name="T62" fmla="*/ 105 w 232"/>
                <a:gd name="T63" fmla="*/ 26 h 289"/>
                <a:gd name="T64" fmla="*/ 120 w 232"/>
                <a:gd name="T65" fmla="*/ 19 h 289"/>
                <a:gd name="T66" fmla="*/ 133 w 232"/>
                <a:gd name="T67" fmla="*/ 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68" name="Freeform 20"/>
            <p:cNvSpPr>
              <a:spLocks/>
            </p:cNvSpPr>
            <p:nvPr/>
          </p:nvSpPr>
          <p:spPr bwMode="auto">
            <a:xfrm>
              <a:off x="4597" y="2420"/>
              <a:ext cx="248" cy="127"/>
            </a:xfrm>
            <a:custGeom>
              <a:avLst/>
              <a:gdLst>
                <a:gd name="T0" fmla="*/ 424 w 512"/>
                <a:gd name="T1" fmla="*/ 198 h 408"/>
                <a:gd name="T2" fmla="*/ 387 w 512"/>
                <a:gd name="T3" fmla="*/ 193 h 408"/>
                <a:gd name="T4" fmla="*/ 367 w 512"/>
                <a:gd name="T5" fmla="*/ 203 h 408"/>
                <a:gd name="T6" fmla="*/ 354 w 512"/>
                <a:gd name="T7" fmla="*/ 217 h 408"/>
                <a:gd name="T8" fmla="*/ 347 w 512"/>
                <a:gd name="T9" fmla="*/ 254 h 408"/>
                <a:gd name="T10" fmla="*/ 327 w 512"/>
                <a:gd name="T11" fmla="*/ 306 h 408"/>
                <a:gd name="T12" fmla="*/ 305 w 512"/>
                <a:gd name="T13" fmla="*/ 335 h 408"/>
                <a:gd name="T14" fmla="*/ 289 w 512"/>
                <a:gd name="T15" fmla="*/ 350 h 408"/>
                <a:gd name="T16" fmla="*/ 271 w 512"/>
                <a:gd name="T17" fmla="*/ 359 h 408"/>
                <a:gd name="T18" fmla="*/ 256 w 512"/>
                <a:gd name="T19" fmla="*/ 368 h 408"/>
                <a:gd name="T20" fmla="*/ 253 w 512"/>
                <a:gd name="T21" fmla="*/ 376 h 408"/>
                <a:gd name="T22" fmla="*/ 215 w 512"/>
                <a:gd name="T23" fmla="*/ 370 h 408"/>
                <a:gd name="T24" fmla="*/ 183 w 512"/>
                <a:gd name="T25" fmla="*/ 367 h 408"/>
                <a:gd name="T26" fmla="*/ 155 w 512"/>
                <a:gd name="T27" fmla="*/ 373 h 408"/>
                <a:gd name="T28" fmla="*/ 138 w 512"/>
                <a:gd name="T29" fmla="*/ 388 h 408"/>
                <a:gd name="T30" fmla="*/ 97 w 512"/>
                <a:gd name="T31" fmla="*/ 405 h 408"/>
                <a:gd name="T32" fmla="*/ 62 w 512"/>
                <a:gd name="T33" fmla="*/ 407 h 408"/>
                <a:gd name="T34" fmla="*/ 45 w 512"/>
                <a:gd name="T35" fmla="*/ 400 h 408"/>
                <a:gd name="T36" fmla="*/ 15 w 512"/>
                <a:gd name="T37" fmla="*/ 368 h 408"/>
                <a:gd name="T38" fmla="*/ 2 w 512"/>
                <a:gd name="T39" fmla="*/ 344 h 408"/>
                <a:gd name="T40" fmla="*/ 8 w 512"/>
                <a:gd name="T41" fmla="*/ 335 h 408"/>
                <a:gd name="T42" fmla="*/ 34 w 512"/>
                <a:gd name="T43" fmla="*/ 344 h 408"/>
                <a:gd name="T44" fmla="*/ 53 w 512"/>
                <a:gd name="T45" fmla="*/ 336 h 408"/>
                <a:gd name="T46" fmla="*/ 56 w 512"/>
                <a:gd name="T47" fmla="*/ 314 h 408"/>
                <a:gd name="T48" fmla="*/ 71 w 512"/>
                <a:gd name="T49" fmla="*/ 300 h 408"/>
                <a:gd name="T50" fmla="*/ 82 w 512"/>
                <a:gd name="T51" fmla="*/ 286 h 408"/>
                <a:gd name="T52" fmla="*/ 89 w 512"/>
                <a:gd name="T53" fmla="*/ 272 h 408"/>
                <a:gd name="T54" fmla="*/ 101 w 512"/>
                <a:gd name="T55" fmla="*/ 262 h 408"/>
                <a:gd name="T56" fmla="*/ 137 w 512"/>
                <a:gd name="T57" fmla="*/ 246 h 408"/>
                <a:gd name="T58" fmla="*/ 175 w 512"/>
                <a:gd name="T59" fmla="*/ 232 h 408"/>
                <a:gd name="T60" fmla="*/ 202 w 512"/>
                <a:gd name="T61" fmla="*/ 217 h 408"/>
                <a:gd name="T62" fmla="*/ 213 w 512"/>
                <a:gd name="T63" fmla="*/ 205 h 408"/>
                <a:gd name="T64" fmla="*/ 219 w 512"/>
                <a:gd name="T65" fmla="*/ 191 h 408"/>
                <a:gd name="T66" fmla="*/ 227 w 512"/>
                <a:gd name="T67" fmla="*/ 161 h 408"/>
                <a:gd name="T68" fmla="*/ 229 w 512"/>
                <a:gd name="T69" fmla="*/ 149 h 408"/>
                <a:gd name="T70" fmla="*/ 231 w 512"/>
                <a:gd name="T71" fmla="*/ 152 h 408"/>
                <a:gd name="T72" fmla="*/ 239 w 512"/>
                <a:gd name="T73" fmla="*/ 143 h 408"/>
                <a:gd name="T74" fmla="*/ 237 w 512"/>
                <a:gd name="T75" fmla="*/ 155 h 408"/>
                <a:gd name="T76" fmla="*/ 240 w 512"/>
                <a:gd name="T77" fmla="*/ 174 h 408"/>
                <a:gd name="T78" fmla="*/ 251 w 512"/>
                <a:gd name="T79" fmla="*/ 193 h 408"/>
                <a:gd name="T80" fmla="*/ 272 w 512"/>
                <a:gd name="T81" fmla="*/ 205 h 408"/>
                <a:gd name="T82" fmla="*/ 306 w 512"/>
                <a:gd name="T83" fmla="*/ 204 h 408"/>
                <a:gd name="T84" fmla="*/ 320 w 512"/>
                <a:gd name="T85" fmla="*/ 205 h 408"/>
                <a:gd name="T86" fmla="*/ 327 w 512"/>
                <a:gd name="T87" fmla="*/ 198 h 408"/>
                <a:gd name="T88" fmla="*/ 324 w 512"/>
                <a:gd name="T89" fmla="*/ 176 h 408"/>
                <a:gd name="T90" fmla="*/ 299 w 512"/>
                <a:gd name="T91" fmla="*/ 130 h 408"/>
                <a:gd name="T92" fmla="*/ 319 w 512"/>
                <a:gd name="T93" fmla="*/ 109 h 408"/>
                <a:gd name="T94" fmla="*/ 344 w 512"/>
                <a:gd name="T95" fmla="*/ 66 h 408"/>
                <a:gd name="T96" fmla="*/ 374 w 512"/>
                <a:gd name="T97" fmla="*/ 22 h 408"/>
                <a:gd name="T98" fmla="*/ 399 w 512"/>
                <a:gd name="T99" fmla="*/ 0 h 408"/>
                <a:gd name="T100" fmla="*/ 401 w 512"/>
                <a:gd name="T101" fmla="*/ 23 h 408"/>
                <a:gd name="T102" fmla="*/ 413 w 512"/>
                <a:gd name="T103" fmla="*/ 50 h 408"/>
                <a:gd name="T104" fmla="*/ 439 w 512"/>
                <a:gd name="T105" fmla="*/ 75 h 408"/>
                <a:gd name="T106" fmla="*/ 486 w 512"/>
                <a:gd name="T107" fmla="*/ 106 h 408"/>
                <a:gd name="T108" fmla="*/ 508 w 512"/>
                <a:gd name="T109" fmla="*/ 132 h 408"/>
                <a:gd name="T110" fmla="*/ 499 w 512"/>
                <a:gd name="T111" fmla="*/ 149 h 408"/>
                <a:gd name="T112" fmla="*/ 478 w 512"/>
                <a:gd name="T113" fmla="*/ 152 h 408"/>
                <a:gd name="T114" fmla="*/ 458 w 512"/>
                <a:gd name="T115" fmla="*/ 18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" name="Textfeld 1"/>
          <p:cNvSpPr txBox="1"/>
          <p:nvPr/>
        </p:nvSpPr>
        <p:spPr>
          <a:xfrm>
            <a:off x="69765429" y="202358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sz="300" dirty="0"/>
          </a:p>
        </p:txBody>
      </p:sp>
      <p:sp>
        <p:nvSpPr>
          <p:cNvPr id="2052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1 w 73"/>
              <a:gd name="T3" fmla="*/ 5 h 20"/>
              <a:gd name="T4" fmla="*/ 4 w 73"/>
              <a:gd name="T5" fmla="*/ 10 h 20"/>
              <a:gd name="T6" fmla="*/ 8 w 73"/>
              <a:gd name="T7" fmla="*/ 14 h 20"/>
              <a:gd name="T8" fmla="*/ 13 w 73"/>
              <a:gd name="T9" fmla="*/ 20 h 20"/>
              <a:gd name="T10" fmla="*/ 16 w 73"/>
              <a:gd name="T11" fmla="*/ 17 h 20"/>
              <a:gd name="T12" fmla="*/ 19 w 73"/>
              <a:gd name="T13" fmla="*/ 13 h 20"/>
              <a:gd name="T14" fmla="*/ 23 w 73"/>
              <a:gd name="T15" fmla="*/ 11 h 20"/>
              <a:gd name="T16" fmla="*/ 27 w 73"/>
              <a:gd name="T17" fmla="*/ 10 h 20"/>
              <a:gd name="T18" fmla="*/ 36 w 73"/>
              <a:gd name="T19" fmla="*/ 8 h 20"/>
              <a:gd name="T20" fmla="*/ 46 w 73"/>
              <a:gd name="T21" fmla="*/ 7 h 20"/>
              <a:gd name="T22" fmla="*/ 54 w 73"/>
              <a:gd name="T23" fmla="*/ 7 h 20"/>
              <a:gd name="T24" fmla="*/ 63 w 73"/>
              <a:gd name="T25" fmla="*/ 6 h 20"/>
              <a:gd name="T26" fmla="*/ 66 w 73"/>
              <a:gd name="T27" fmla="*/ 5 h 20"/>
              <a:gd name="T28" fmla="*/ 69 w 73"/>
              <a:gd name="T29" fmla="*/ 4 h 20"/>
              <a:gd name="T30" fmla="*/ 71 w 73"/>
              <a:gd name="T31" fmla="*/ 2 h 20"/>
              <a:gd name="T32" fmla="*/ 73 w 73"/>
              <a:gd name="T33" fmla="*/ 0 h 20"/>
              <a:gd name="T34" fmla="*/ 0 w 73"/>
              <a:gd name="T3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53" name="Freeform 5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>
              <a:gd name="T0" fmla="*/ 1395 w 1808"/>
              <a:gd name="T1" fmla="*/ 807 h 850"/>
              <a:gd name="T2" fmla="*/ 1394 w 1808"/>
              <a:gd name="T3" fmla="*/ 753 h 850"/>
              <a:gd name="T4" fmla="*/ 1373 w 1808"/>
              <a:gd name="T5" fmla="*/ 648 h 850"/>
              <a:gd name="T6" fmla="*/ 1323 w 1808"/>
              <a:gd name="T7" fmla="*/ 641 h 850"/>
              <a:gd name="T8" fmla="*/ 1264 w 1808"/>
              <a:gd name="T9" fmla="*/ 639 h 850"/>
              <a:gd name="T10" fmla="*/ 1134 w 1808"/>
              <a:gd name="T11" fmla="*/ 582 h 850"/>
              <a:gd name="T12" fmla="*/ 973 w 1808"/>
              <a:gd name="T13" fmla="*/ 537 h 850"/>
              <a:gd name="T14" fmla="*/ 943 w 1808"/>
              <a:gd name="T15" fmla="*/ 504 h 850"/>
              <a:gd name="T16" fmla="*/ 901 w 1808"/>
              <a:gd name="T17" fmla="*/ 516 h 850"/>
              <a:gd name="T18" fmla="*/ 849 w 1808"/>
              <a:gd name="T19" fmla="*/ 570 h 850"/>
              <a:gd name="T20" fmla="*/ 675 w 1808"/>
              <a:gd name="T21" fmla="*/ 619 h 850"/>
              <a:gd name="T22" fmla="*/ 678 w 1808"/>
              <a:gd name="T23" fmla="*/ 578 h 850"/>
              <a:gd name="T24" fmla="*/ 721 w 1808"/>
              <a:gd name="T25" fmla="*/ 548 h 850"/>
              <a:gd name="T26" fmla="*/ 786 w 1808"/>
              <a:gd name="T27" fmla="*/ 545 h 850"/>
              <a:gd name="T28" fmla="*/ 724 w 1808"/>
              <a:gd name="T29" fmla="*/ 528 h 850"/>
              <a:gd name="T30" fmla="*/ 578 w 1808"/>
              <a:gd name="T31" fmla="*/ 589 h 850"/>
              <a:gd name="T32" fmla="*/ 547 w 1808"/>
              <a:gd name="T33" fmla="*/ 625 h 850"/>
              <a:gd name="T34" fmla="*/ 526 w 1808"/>
              <a:gd name="T35" fmla="*/ 650 h 850"/>
              <a:gd name="T36" fmla="*/ 452 w 1808"/>
              <a:gd name="T37" fmla="*/ 654 h 850"/>
              <a:gd name="T38" fmla="*/ 383 w 1808"/>
              <a:gd name="T39" fmla="*/ 702 h 850"/>
              <a:gd name="T40" fmla="*/ 252 w 1808"/>
              <a:gd name="T41" fmla="*/ 750 h 850"/>
              <a:gd name="T42" fmla="*/ 105 w 1808"/>
              <a:gd name="T43" fmla="*/ 807 h 850"/>
              <a:gd name="T44" fmla="*/ 4 w 1808"/>
              <a:gd name="T45" fmla="*/ 813 h 850"/>
              <a:gd name="T46" fmla="*/ 14 w 1808"/>
              <a:gd name="T47" fmla="*/ 789 h 850"/>
              <a:gd name="T48" fmla="*/ 127 w 1808"/>
              <a:gd name="T49" fmla="*/ 761 h 850"/>
              <a:gd name="T50" fmla="*/ 265 w 1808"/>
              <a:gd name="T51" fmla="*/ 696 h 850"/>
              <a:gd name="T52" fmla="*/ 300 w 1808"/>
              <a:gd name="T53" fmla="*/ 626 h 850"/>
              <a:gd name="T54" fmla="*/ 253 w 1808"/>
              <a:gd name="T55" fmla="*/ 657 h 850"/>
              <a:gd name="T56" fmla="*/ 150 w 1808"/>
              <a:gd name="T57" fmla="*/ 643 h 850"/>
              <a:gd name="T58" fmla="*/ 172 w 1808"/>
              <a:gd name="T59" fmla="*/ 610 h 850"/>
              <a:gd name="T60" fmla="*/ 240 w 1808"/>
              <a:gd name="T61" fmla="*/ 547 h 850"/>
              <a:gd name="T62" fmla="*/ 152 w 1808"/>
              <a:gd name="T63" fmla="*/ 575 h 850"/>
              <a:gd name="T64" fmla="*/ 143 w 1808"/>
              <a:gd name="T65" fmla="*/ 536 h 850"/>
              <a:gd name="T66" fmla="*/ 346 w 1808"/>
              <a:gd name="T67" fmla="*/ 380 h 850"/>
              <a:gd name="T68" fmla="*/ 444 w 1808"/>
              <a:gd name="T69" fmla="*/ 382 h 850"/>
              <a:gd name="T70" fmla="*/ 569 w 1808"/>
              <a:gd name="T71" fmla="*/ 349 h 850"/>
              <a:gd name="T72" fmla="*/ 592 w 1808"/>
              <a:gd name="T73" fmla="*/ 306 h 850"/>
              <a:gd name="T74" fmla="*/ 506 w 1808"/>
              <a:gd name="T75" fmla="*/ 331 h 850"/>
              <a:gd name="T76" fmla="*/ 438 w 1808"/>
              <a:gd name="T77" fmla="*/ 318 h 850"/>
              <a:gd name="T78" fmla="*/ 472 w 1808"/>
              <a:gd name="T79" fmla="*/ 287 h 850"/>
              <a:gd name="T80" fmla="*/ 711 w 1808"/>
              <a:gd name="T81" fmla="*/ 238 h 850"/>
              <a:gd name="T82" fmla="*/ 749 w 1808"/>
              <a:gd name="T83" fmla="*/ 210 h 850"/>
              <a:gd name="T84" fmla="*/ 684 w 1808"/>
              <a:gd name="T85" fmla="*/ 176 h 850"/>
              <a:gd name="T86" fmla="*/ 739 w 1808"/>
              <a:gd name="T87" fmla="*/ 109 h 850"/>
              <a:gd name="T88" fmla="*/ 988 w 1808"/>
              <a:gd name="T89" fmla="*/ 27 h 850"/>
              <a:gd name="T90" fmla="*/ 1157 w 1808"/>
              <a:gd name="T91" fmla="*/ 9 h 850"/>
              <a:gd name="T92" fmla="*/ 1277 w 1808"/>
              <a:gd name="T93" fmla="*/ 2 h 850"/>
              <a:gd name="T94" fmla="*/ 1354 w 1808"/>
              <a:gd name="T95" fmla="*/ 10 h 850"/>
              <a:gd name="T96" fmla="*/ 1516 w 1808"/>
              <a:gd name="T97" fmla="*/ 34 h 850"/>
              <a:gd name="T98" fmla="*/ 1761 w 1808"/>
              <a:gd name="T99" fmla="*/ 41 h 850"/>
              <a:gd name="T100" fmla="*/ 1287 w 1808"/>
              <a:gd name="T101" fmla="*/ 540 h 850"/>
              <a:gd name="T102" fmla="*/ 1321 w 1808"/>
              <a:gd name="T103" fmla="*/ 571 h 850"/>
              <a:gd name="T104" fmla="*/ 1327 w 1808"/>
              <a:gd name="T105" fmla="*/ 601 h 850"/>
              <a:gd name="T106" fmla="*/ 1382 w 1808"/>
              <a:gd name="T107" fmla="*/ 599 h 850"/>
              <a:gd name="T108" fmla="*/ 1429 w 1808"/>
              <a:gd name="T109" fmla="*/ 577 h 850"/>
              <a:gd name="T110" fmla="*/ 1475 w 1808"/>
              <a:gd name="T111" fmla="*/ 667 h 850"/>
              <a:gd name="T112" fmla="*/ 1462 w 1808"/>
              <a:gd name="T113" fmla="*/ 706 h 850"/>
              <a:gd name="T114" fmla="*/ 1449 w 1808"/>
              <a:gd name="T115" fmla="*/ 742 h 850"/>
              <a:gd name="T116" fmla="*/ 1477 w 1808"/>
              <a:gd name="T117" fmla="*/ 783 h 850"/>
              <a:gd name="T118" fmla="*/ 1477 w 1808"/>
              <a:gd name="T119" fmla="*/ 811 h 850"/>
              <a:gd name="T120" fmla="*/ 1426 w 1808"/>
              <a:gd name="T121" fmla="*/ 848 h 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54" name="Freeform 6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>
              <a:gd name="T0" fmla="*/ 2928 w 3175"/>
              <a:gd name="T1" fmla="*/ 353 h 1472"/>
              <a:gd name="T2" fmla="*/ 2896 w 3175"/>
              <a:gd name="T3" fmla="*/ 440 h 1472"/>
              <a:gd name="T4" fmla="*/ 2843 w 3175"/>
              <a:gd name="T5" fmla="*/ 462 h 1472"/>
              <a:gd name="T6" fmla="*/ 2667 w 3175"/>
              <a:gd name="T7" fmla="*/ 566 h 1472"/>
              <a:gd name="T8" fmla="*/ 2595 w 3175"/>
              <a:gd name="T9" fmla="*/ 585 h 1472"/>
              <a:gd name="T10" fmla="*/ 2570 w 3175"/>
              <a:gd name="T11" fmla="*/ 677 h 1472"/>
              <a:gd name="T12" fmla="*/ 2514 w 3175"/>
              <a:gd name="T13" fmla="*/ 621 h 1472"/>
              <a:gd name="T14" fmla="*/ 2499 w 3175"/>
              <a:gd name="T15" fmla="*/ 690 h 1472"/>
              <a:gd name="T16" fmla="*/ 2465 w 3175"/>
              <a:gd name="T17" fmla="*/ 744 h 1472"/>
              <a:gd name="T18" fmla="*/ 2471 w 3175"/>
              <a:gd name="T19" fmla="*/ 823 h 1472"/>
              <a:gd name="T20" fmla="*/ 2332 w 3175"/>
              <a:gd name="T21" fmla="*/ 928 h 1472"/>
              <a:gd name="T22" fmla="*/ 2165 w 3175"/>
              <a:gd name="T23" fmla="*/ 1045 h 1472"/>
              <a:gd name="T24" fmla="*/ 2112 w 3175"/>
              <a:gd name="T25" fmla="*/ 1195 h 1472"/>
              <a:gd name="T26" fmla="*/ 2103 w 3175"/>
              <a:gd name="T27" fmla="*/ 1457 h 1472"/>
              <a:gd name="T28" fmla="*/ 2026 w 3175"/>
              <a:gd name="T29" fmla="*/ 1414 h 1472"/>
              <a:gd name="T30" fmla="*/ 1993 w 3175"/>
              <a:gd name="T31" fmla="*/ 1326 h 1472"/>
              <a:gd name="T32" fmla="*/ 1959 w 3175"/>
              <a:gd name="T33" fmla="*/ 1184 h 1472"/>
              <a:gd name="T34" fmla="*/ 1832 w 3175"/>
              <a:gd name="T35" fmla="*/ 1168 h 1472"/>
              <a:gd name="T36" fmla="*/ 1653 w 3175"/>
              <a:gd name="T37" fmla="*/ 1143 h 1472"/>
              <a:gd name="T38" fmla="*/ 1616 w 3175"/>
              <a:gd name="T39" fmla="*/ 1186 h 1472"/>
              <a:gd name="T40" fmla="*/ 1548 w 3175"/>
              <a:gd name="T41" fmla="*/ 1238 h 1472"/>
              <a:gd name="T42" fmla="*/ 1436 w 3175"/>
              <a:gd name="T43" fmla="*/ 1192 h 1472"/>
              <a:gd name="T44" fmla="*/ 1231 w 3175"/>
              <a:gd name="T45" fmla="*/ 1272 h 1472"/>
              <a:gd name="T46" fmla="*/ 1160 w 3175"/>
              <a:gd name="T47" fmla="*/ 1392 h 1472"/>
              <a:gd name="T48" fmla="*/ 1080 w 3175"/>
              <a:gd name="T49" fmla="*/ 1382 h 1472"/>
              <a:gd name="T50" fmla="*/ 1037 w 3175"/>
              <a:gd name="T51" fmla="*/ 1227 h 1472"/>
              <a:gd name="T52" fmla="*/ 940 w 3175"/>
              <a:gd name="T53" fmla="*/ 1190 h 1472"/>
              <a:gd name="T54" fmla="*/ 867 w 3175"/>
              <a:gd name="T55" fmla="*/ 1219 h 1472"/>
              <a:gd name="T56" fmla="*/ 782 w 3175"/>
              <a:gd name="T57" fmla="*/ 1087 h 1472"/>
              <a:gd name="T58" fmla="*/ 670 w 3175"/>
              <a:gd name="T59" fmla="*/ 1065 h 1472"/>
              <a:gd name="T60" fmla="*/ 462 w 3175"/>
              <a:gd name="T61" fmla="*/ 1065 h 1472"/>
              <a:gd name="T62" fmla="*/ 220 w 3175"/>
              <a:gd name="T63" fmla="*/ 1016 h 1472"/>
              <a:gd name="T64" fmla="*/ 88 w 3175"/>
              <a:gd name="T65" fmla="*/ 920 h 1472"/>
              <a:gd name="T66" fmla="*/ 39 w 3175"/>
              <a:gd name="T67" fmla="*/ 848 h 1472"/>
              <a:gd name="T68" fmla="*/ 29 w 3175"/>
              <a:gd name="T69" fmla="*/ 662 h 1472"/>
              <a:gd name="T70" fmla="*/ 0 w 3175"/>
              <a:gd name="T71" fmla="*/ 604 h 1472"/>
              <a:gd name="T72" fmla="*/ 141 w 3175"/>
              <a:gd name="T73" fmla="*/ 336 h 1472"/>
              <a:gd name="T74" fmla="*/ 247 w 3175"/>
              <a:gd name="T75" fmla="*/ 176 h 1472"/>
              <a:gd name="T76" fmla="*/ 355 w 3175"/>
              <a:gd name="T77" fmla="*/ 102 h 1472"/>
              <a:gd name="T78" fmla="*/ 376 w 3175"/>
              <a:gd name="T79" fmla="*/ 120 h 1472"/>
              <a:gd name="T80" fmla="*/ 1827 w 3175"/>
              <a:gd name="T81" fmla="*/ 0 h 1472"/>
              <a:gd name="T82" fmla="*/ 1926 w 3175"/>
              <a:gd name="T83" fmla="*/ 55 h 1472"/>
              <a:gd name="T84" fmla="*/ 2015 w 3175"/>
              <a:gd name="T85" fmla="*/ 69 h 1472"/>
              <a:gd name="T86" fmla="*/ 1929 w 3175"/>
              <a:gd name="T87" fmla="*/ 128 h 1472"/>
              <a:gd name="T88" fmla="*/ 1977 w 3175"/>
              <a:gd name="T89" fmla="*/ 166 h 1472"/>
              <a:gd name="T90" fmla="*/ 2094 w 3175"/>
              <a:gd name="T91" fmla="*/ 155 h 1472"/>
              <a:gd name="T92" fmla="*/ 2284 w 3175"/>
              <a:gd name="T93" fmla="*/ 193 h 1472"/>
              <a:gd name="T94" fmla="*/ 2217 w 3175"/>
              <a:gd name="T95" fmla="*/ 204 h 1472"/>
              <a:gd name="T96" fmla="*/ 2087 w 3175"/>
              <a:gd name="T97" fmla="*/ 264 h 1472"/>
              <a:gd name="T98" fmla="*/ 2021 w 3175"/>
              <a:gd name="T99" fmla="*/ 355 h 1472"/>
              <a:gd name="T100" fmla="*/ 2012 w 3175"/>
              <a:gd name="T101" fmla="*/ 451 h 1472"/>
              <a:gd name="T102" fmla="*/ 2076 w 3175"/>
              <a:gd name="T103" fmla="*/ 417 h 1472"/>
              <a:gd name="T104" fmla="*/ 2205 w 3175"/>
              <a:gd name="T105" fmla="*/ 252 h 1472"/>
              <a:gd name="T106" fmla="*/ 2267 w 3175"/>
              <a:gd name="T107" fmla="*/ 303 h 1472"/>
              <a:gd name="T108" fmla="*/ 2299 w 3175"/>
              <a:gd name="T109" fmla="*/ 394 h 1472"/>
              <a:gd name="T110" fmla="*/ 2206 w 3175"/>
              <a:gd name="T111" fmla="*/ 454 h 1472"/>
              <a:gd name="T112" fmla="*/ 2317 w 3175"/>
              <a:gd name="T113" fmla="*/ 457 h 1472"/>
              <a:gd name="T114" fmla="*/ 2570 w 3175"/>
              <a:gd name="T115" fmla="*/ 373 h 1472"/>
              <a:gd name="T116" fmla="*/ 2730 w 3175"/>
              <a:gd name="T117" fmla="*/ 252 h 1472"/>
              <a:gd name="T118" fmla="*/ 3016 w 3175"/>
              <a:gd name="T119" fmla="*/ 203 h 1472"/>
              <a:gd name="T120" fmla="*/ 3136 w 3175"/>
              <a:gd name="T121" fmla="*/ 118 h 1472"/>
              <a:gd name="T122" fmla="*/ 3149 w 3175"/>
              <a:gd name="T123" fmla="*/ 184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55" name="Freeform 7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>
              <a:gd name="T0" fmla="*/ 583 w 784"/>
              <a:gd name="T1" fmla="*/ 277 h 1128"/>
              <a:gd name="T2" fmla="*/ 549 w 784"/>
              <a:gd name="T3" fmla="*/ 295 h 1128"/>
              <a:gd name="T4" fmla="*/ 484 w 784"/>
              <a:gd name="T5" fmla="*/ 387 h 1128"/>
              <a:gd name="T6" fmla="*/ 465 w 784"/>
              <a:gd name="T7" fmla="*/ 457 h 1128"/>
              <a:gd name="T8" fmla="*/ 481 w 784"/>
              <a:gd name="T9" fmla="*/ 522 h 1128"/>
              <a:gd name="T10" fmla="*/ 530 w 784"/>
              <a:gd name="T11" fmla="*/ 591 h 1128"/>
              <a:gd name="T12" fmla="*/ 579 w 784"/>
              <a:gd name="T13" fmla="*/ 616 h 1128"/>
              <a:gd name="T14" fmla="*/ 625 w 784"/>
              <a:gd name="T15" fmla="*/ 600 h 1128"/>
              <a:gd name="T16" fmla="*/ 654 w 784"/>
              <a:gd name="T17" fmla="*/ 653 h 1128"/>
              <a:gd name="T18" fmla="*/ 672 w 784"/>
              <a:gd name="T19" fmla="*/ 683 h 1128"/>
              <a:gd name="T20" fmla="*/ 714 w 784"/>
              <a:gd name="T21" fmla="*/ 687 h 1128"/>
              <a:gd name="T22" fmla="*/ 749 w 784"/>
              <a:gd name="T23" fmla="*/ 712 h 1128"/>
              <a:gd name="T24" fmla="*/ 770 w 784"/>
              <a:gd name="T25" fmla="*/ 756 h 1128"/>
              <a:gd name="T26" fmla="*/ 761 w 784"/>
              <a:gd name="T27" fmla="*/ 790 h 1128"/>
              <a:gd name="T28" fmla="*/ 760 w 784"/>
              <a:gd name="T29" fmla="*/ 825 h 1128"/>
              <a:gd name="T30" fmla="*/ 772 w 784"/>
              <a:gd name="T31" fmla="*/ 882 h 1128"/>
              <a:gd name="T32" fmla="*/ 758 w 784"/>
              <a:gd name="T33" fmla="*/ 932 h 1128"/>
              <a:gd name="T34" fmla="*/ 770 w 784"/>
              <a:gd name="T35" fmla="*/ 994 h 1128"/>
              <a:gd name="T36" fmla="*/ 763 w 784"/>
              <a:gd name="T37" fmla="*/ 1054 h 1128"/>
              <a:gd name="T38" fmla="*/ 691 w 784"/>
              <a:gd name="T39" fmla="*/ 1122 h 1128"/>
              <a:gd name="T40" fmla="*/ 648 w 784"/>
              <a:gd name="T41" fmla="*/ 1103 h 1128"/>
              <a:gd name="T42" fmla="*/ 602 w 784"/>
              <a:gd name="T43" fmla="*/ 1056 h 1128"/>
              <a:gd name="T44" fmla="*/ 463 w 784"/>
              <a:gd name="T45" fmla="*/ 998 h 1128"/>
              <a:gd name="T46" fmla="*/ 425 w 784"/>
              <a:gd name="T47" fmla="*/ 967 h 1128"/>
              <a:gd name="T48" fmla="*/ 331 w 784"/>
              <a:gd name="T49" fmla="*/ 894 h 1128"/>
              <a:gd name="T50" fmla="*/ 318 w 784"/>
              <a:gd name="T51" fmla="*/ 867 h 1128"/>
              <a:gd name="T52" fmla="*/ 328 w 784"/>
              <a:gd name="T53" fmla="*/ 815 h 1128"/>
              <a:gd name="T54" fmla="*/ 290 w 784"/>
              <a:gd name="T55" fmla="*/ 778 h 1128"/>
              <a:gd name="T56" fmla="*/ 259 w 784"/>
              <a:gd name="T57" fmla="*/ 745 h 1128"/>
              <a:gd name="T58" fmla="*/ 243 w 784"/>
              <a:gd name="T59" fmla="*/ 689 h 1128"/>
              <a:gd name="T60" fmla="*/ 153 w 784"/>
              <a:gd name="T61" fmla="*/ 530 h 1128"/>
              <a:gd name="T62" fmla="*/ 120 w 784"/>
              <a:gd name="T63" fmla="*/ 487 h 1128"/>
              <a:gd name="T64" fmla="*/ 90 w 784"/>
              <a:gd name="T65" fmla="*/ 432 h 1128"/>
              <a:gd name="T66" fmla="*/ 22 w 784"/>
              <a:gd name="T67" fmla="*/ 397 h 1128"/>
              <a:gd name="T68" fmla="*/ 0 w 784"/>
              <a:gd name="T69" fmla="*/ 363 h 1128"/>
              <a:gd name="T70" fmla="*/ 13 w 784"/>
              <a:gd name="T71" fmla="*/ 276 h 1128"/>
              <a:gd name="T72" fmla="*/ 28 w 784"/>
              <a:gd name="T73" fmla="*/ 246 h 1128"/>
              <a:gd name="T74" fmla="*/ 72 w 784"/>
              <a:gd name="T75" fmla="*/ 222 h 1128"/>
              <a:gd name="T76" fmla="*/ 95 w 784"/>
              <a:gd name="T77" fmla="*/ 272 h 1128"/>
              <a:gd name="T78" fmla="*/ 158 w 784"/>
              <a:gd name="T79" fmla="*/ 307 h 1128"/>
              <a:gd name="T80" fmla="*/ 184 w 784"/>
              <a:gd name="T81" fmla="*/ 271 h 1128"/>
              <a:gd name="T82" fmla="*/ 201 w 784"/>
              <a:gd name="T83" fmla="*/ 225 h 1128"/>
              <a:gd name="T84" fmla="*/ 270 w 784"/>
              <a:gd name="T85" fmla="*/ 170 h 1128"/>
              <a:gd name="T86" fmla="*/ 344 w 784"/>
              <a:gd name="T87" fmla="*/ 120 h 1128"/>
              <a:gd name="T88" fmla="*/ 357 w 784"/>
              <a:gd name="T89" fmla="*/ 70 h 1128"/>
              <a:gd name="T90" fmla="*/ 347 w 784"/>
              <a:gd name="T91" fmla="*/ 5 h 1128"/>
              <a:gd name="T92" fmla="*/ 422 w 784"/>
              <a:gd name="T93" fmla="*/ 53 h 1128"/>
              <a:gd name="T94" fmla="*/ 467 w 784"/>
              <a:gd name="T95" fmla="*/ 107 h 1128"/>
              <a:gd name="T96" fmla="*/ 506 w 784"/>
              <a:gd name="T97" fmla="*/ 154 h 1128"/>
              <a:gd name="T98" fmla="*/ 561 w 784"/>
              <a:gd name="T99" fmla="*/ 157 h 1128"/>
              <a:gd name="T100" fmla="*/ 617 w 784"/>
              <a:gd name="T101" fmla="*/ 149 h 1128"/>
              <a:gd name="T102" fmla="*/ 640 w 784"/>
              <a:gd name="T103" fmla="*/ 156 h 1128"/>
              <a:gd name="T104" fmla="*/ 654 w 784"/>
              <a:gd name="T105" fmla="*/ 193 h 1128"/>
              <a:gd name="T106" fmla="*/ 627 w 784"/>
              <a:gd name="T107" fmla="*/ 210 h 1128"/>
              <a:gd name="T108" fmla="*/ 627 w 784"/>
              <a:gd name="T109" fmla="*/ 240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56" name="Freeform 8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>
              <a:gd name="T0" fmla="*/ 418 w 598"/>
              <a:gd name="T1" fmla="*/ 2021 h 2158"/>
              <a:gd name="T2" fmla="*/ 342 w 598"/>
              <a:gd name="T3" fmla="*/ 1955 h 2158"/>
              <a:gd name="T4" fmla="*/ 339 w 598"/>
              <a:gd name="T5" fmla="*/ 1893 h 2158"/>
              <a:gd name="T6" fmla="*/ 345 w 598"/>
              <a:gd name="T7" fmla="*/ 1843 h 2158"/>
              <a:gd name="T8" fmla="*/ 362 w 598"/>
              <a:gd name="T9" fmla="*/ 1791 h 2158"/>
              <a:gd name="T10" fmla="*/ 354 w 598"/>
              <a:gd name="T11" fmla="*/ 1740 h 2158"/>
              <a:gd name="T12" fmla="*/ 332 w 598"/>
              <a:gd name="T13" fmla="*/ 1683 h 2158"/>
              <a:gd name="T14" fmla="*/ 303 w 598"/>
              <a:gd name="T15" fmla="*/ 1581 h 2158"/>
              <a:gd name="T16" fmla="*/ 226 w 598"/>
              <a:gd name="T17" fmla="*/ 1460 h 2158"/>
              <a:gd name="T18" fmla="*/ 206 w 598"/>
              <a:gd name="T19" fmla="*/ 1381 h 2158"/>
              <a:gd name="T20" fmla="*/ 217 w 598"/>
              <a:gd name="T21" fmla="*/ 1299 h 2158"/>
              <a:gd name="T22" fmla="*/ 208 w 598"/>
              <a:gd name="T23" fmla="*/ 1235 h 2158"/>
              <a:gd name="T24" fmla="*/ 185 w 598"/>
              <a:gd name="T25" fmla="*/ 1165 h 2158"/>
              <a:gd name="T26" fmla="*/ 211 w 598"/>
              <a:gd name="T27" fmla="*/ 1123 h 2158"/>
              <a:gd name="T28" fmla="*/ 195 w 598"/>
              <a:gd name="T29" fmla="*/ 1082 h 2158"/>
              <a:gd name="T30" fmla="*/ 211 w 598"/>
              <a:gd name="T31" fmla="*/ 1025 h 2158"/>
              <a:gd name="T32" fmla="*/ 210 w 598"/>
              <a:gd name="T33" fmla="*/ 993 h 2158"/>
              <a:gd name="T34" fmla="*/ 187 w 598"/>
              <a:gd name="T35" fmla="*/ 927 h 2158"/>
              <a:gd name="T36" fmla="*/ 136 w 598"/>
              <a:gd name="T37" fmla="*/ 852 h 2158"/>
              <a:gd name="T38" fmla="*/ 134 w 598"/>
              <a:gd name="T39" fmla="*/ 686 h 2158"/>
              <a:gd name="T40" fmla="*/ 183 w 598"/>
              <a:gd name="T41" fmla="*/ 584 h 2158"/>
              <a:gd name="T42" fmla="*/ 189 w 598"/>
              <a:gd name="T43" fmla="*/ 522 h 2158"/>
              <a:gd name="T44" fmla="*/ 160 w 598"/>
              <a:gd name="T45" fmla="*/ 459 h 2158"/>
              <a:gd name="T46" fmla="*/ 182 w 598"/>
              <a:gd name="T47" fmla="*/ 406 h 2158"/>
              <a:gd name="T48" fmla="*/ 229 w 598"/>
              <a:gd name="T49" fmla="*/ 346 h 2158"/>
              <a:gd name="T50" fmla="*/ 200 w 598"/>
              <a:gd name="T51" fmla="*/ 308 h 2158"/>
              <a:gd name="T52" fmla="*/ 148 w 598"/>
              <a:gd name="T53" fmla="*/ 222 h 2158"/>
              <a:gd name="T54" fmla="*/ 129 w 598"/>
              <a:gd name="T55" fmla="*/ 125 h 2158"/>
              <a:gd name="T56" fmla="*/ 91 w 598"/>
              <a:gd name="T57" fmla="*/ 37 h 2158"/>
              <a:gd name="T58" fmla="*/ 0 w 598"/>
              <a:gd name="T59" fmla="*/ 44 h 2158"/>
              <a:gd name="T60" fmla="*/ 31 w 598"/>
              <a:gd name="T61" fmla="*/ 200 h 2158"/>
              <a:gd name="T62" fmla="*/ 42 w 598"/>
              <a:gd name="T63" fmla="*/ 304 h 2158"/>
              <a:gd name="T64" fmla="*/ 27 w 598"/>
              <a:gd name="T65" fmla="*/ 374 h 2158"/>
              <a:gd name="T66" fmla="*/ 52 w 598"/>
              <a:gd name="T67" fmla="*/ 524 h 2158"/>
              <a:gd name="T68" fmla="*/ 46 w 598"/>
              <a:gd name="T69" fmla="*/ 649 h 2158"/>
              <a:gd name="T70" fmla="*/ 36 w 598"/>
              <a:gd name="T71" fmla="*/ 718 h 2158"/>
              <a:gd name="T72" fmla="*/ 52 w 598"/>
              <a:gd name="T73" fmla="*/ 767 h 2158"/>
              <a:gd name="T74" fmla="*/ 64 w 598"/>
              <a:gd name="T75" fmla="*/ 871 h 2158"/>
              <a:gd name="T76" fmla="*/ 81 w 598"/>
              <a:gd name="T77" fmla="*/ 913 h 2158"/>
              <a:gd name="T78" fmla="*/ 73 w 598"/>
              <a:gd name="T79" fmla="*/ 1045 h 2158"/>
              <a:gd name="T80" fmla="*/ 63 w 598"/>
              <a:gd name="T81" fmla="*/ 1152 h 2158"/>
              <a:gd name="T82" fmla="*/ 40 w 598"/>
              <a:gd name="T83" fmla="*/ 1188 h 2158"/>
              <a:gd name="T84" fmla="*/ 60 w 598"/>
              <a:gd name="T85" fmla="*/ 1258 h 2158"/>
              <a:gd name="T86" fmla="*/ 106 w 598"/>
              <a:gd name="T87" fmla="*/ 1343 h 2158"/>
              <a:gd name="T88" fmla="*/ 93 w 598"/>
              <a:gd name="T89" fmla="*/ 1396 h 2158"/>
              <a:gd name="T90" fmla="*/ 106 w 598"/>
              <a:gd name="T91" fmla="*/ 1449 h 2158"/>
              <a:gd name="T92" fmla="*/ 164 w 598"/>
              <a:gd name="T93" fmla="*/ 1467 h 2158"/>
              <a:gd name="T94" fmla="*/ 209 w 598"/>
              <a:gd name="T95" fmla="*/ 1621 h 2158"/>
              <a:gd name="T96" fmla="*/ 227 w 598"/>
              <a:gd name="T97" fmla="*/ 1709 h 2158"/>
              <a:gd name="T98" fmla="*/ 151 w 598"/>
              <a:gd name="T99" fmla="*/ 1749 h 2158"/>
              <a:gd name="T100" fmla="*/ 207 w 598"/>
              <a:gd name="T101" fmla="*/ 1776 h 2158"/>
              <a:gd name="T102" fmla="*/ 250 w 598"/>
              <a:gd name="T103" fmla="*/ 1820 h 2158"/>
              <a:gd name="T104" fmla="*/ 275 w 598"/>
              <a:gd name="T105" fmla="*/ 1871 h 2158"/>
              <a:gd name="T106" fmla="*/ 308 w 598"/>
              <a:gd name="T107" fmla="*/ 1961 h 2158"/>
              <a:gd name="T108" fmla="*/ 359 w 598"/>
              <a:gd name="T109" fmla="*/ 2013 h 2158"/>
              <a:gd name="T110" fmla="*/ 393 w 598"/>
              <a:gd name="T111" fmla="*/ 2048 h 2158"/>
              <a:gd name="T112" fmla="*/ 424 w 598"/>
              <a:gd name="T113" fmla="*/ 2074 h 2158"/>
              <a:gd name="T114" fmla="*/ 465 w 598"/>
              <a:gd name="T115" fmla="*/ 2110 h 2158"/>
              <a:gd name="T116" fmla="*/ 519 w 598"/>
              <a:gd name="T117" fmla="*/ 2140 h 2158"/>
              <a:gd name="T118" fmla="*/ 538 w 598"/>
              <a:gd name="T119" fmla="*/ 2151 h 2158"/>
              <a:gd name="T120" fmla="*/ 586 w 598"/>
              <a:gd name="T121" fmla="*/ 2098 h 2158"/>
              <a:gd name="T122" fmla="*/ 591 w 598"/>
              <a:gd name="T123" fmla="*/ 2071 h 2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57" name="Freeform 9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>
              <a:gd name="T0" fmla="*/ 440 w 2226"/>
              <a:gd name="T1" fmla="*/ 896 h 2292"/>
              <a:gd name="T2" fmla="*/ 505 w 2226"/>
              <a:gd name="T3" fmla="*/ 985 h 2292"/>
              <a:gd name="T4" fmla="*/ 572 w 2226"/>
              <a:gd name="T5" fmla="*/ 1054 h 2292"/>
              <a:gd name="T6" fmla="*/ 716 w 2226"/>
              <a:gd name="T7" fmla="*/ 1098 h 2292"/>
              <a:gd name="T8" fmla="*/ 798 w 2226"/>
              <a:gd name="T9" fmla="*/ 1204 h 2292"/>
              <a:gd name="T10" fmla="*/ 846 w 2226"/>
              <a:gd name="T11" fmla="*/ 1292 h 2292"/>
              <a:gd name="T12" fmla="*/ 939 w 2226"/>
              <a:gd name="T13" fmla="*/ 1355 h 2292"/>
              <a:gd name="T14" fmla="*/ 957 w 2226"/>
              <a:gd name="T15" fmla="*/ 1466 h 2292"/>
              <a:gd name="T16" fmla="*/ 976 w 2226"/>
              <a:gd name="T17" fmla="*/ 1541 h 2292"/>
              <a:gd name="T18" fmla="*/ 992 w 2226"/>
              <a:gd name="T19" fmla="*/ 1632 h 2292"/>
              <a:gd name="T20" fmla="*/ 1131 w 2226"/>
              <a:gd name="T21" fmla="*/ 1698 h 2292"/>
              <a:gd name="T22" fmla="*/ 1193 w 2226"/>
              <a:gd name="T23" fmla="*/ 1805 h 2292"/>
              <a:gd name="T24" fmla="*/ 1243 w 2226"/>
              <a:gd name="T25" fmla="*/ 1864 h 2292"/>
              <a:gd name="T26" fmla="*/ 1183 w 2226"/>
              <a:gd name="T27" fmla="*/ 2003 h 2292"/>
              <a:gd name="T28" fmla="*/ 1084 w 2226"/>
              <a:gd name="T29" fmla="*/ 2128 h 2292"/>
              <a:gd name="T30" fmla="*/ 1180 w 2226"/>
              <a:gd name="T31" fmla="*/ 2161 h 2292"/>
              <a:gd name="T32" fmla="*/ 1296 w 2226"/>
              <a:gd name="T33" fmla="*/ 2234 h 2292"/>
              <a:gd name="T34" fmla="*/ 1419 w 2226"/>
              <a:gd name="T35" fmla="*/ 2198 h 2292"/>
              <a:gd name="T36" fmla="*/ 1518 w 2226"/>
              <a:gd name="T37" fmla="*/ 2036 h 2292"/>
              <a:gd name="T38" fmla="*/ 1512 w 2226"/>
              <a:gd name="T39" fmla="*/ 1918 h 2292"/>
              <a:gd name="T40" fmla="*/ 1561 w 2226"/>
              <a:gd name="T41" fmla="*/ 1793 h 2292"/>
              <a:gd name="T42" fmla="*/ 1706 w 2226"/>
              <a:gd name="T43" fmla="*/ 1727 h 2292"/>
              <a:gd name="T44" fmla="*/ 1798 w 2226"/>
              <a:gd name="T45" fmla="*/ 1681 h 2292"/>
              <a:gd name="T46" fmla="*/ 1897 w 2226"/>
              <a:gd name="T47" fmla="*/ 1641 h 2292"/>
              <a:gd name="T48" fmla="*/ 1982 w 2226"/>
              <a:gd name="T49" fmla="*/ 1400 h 2292"/>
              <a:gd name="T50" fmla="*/ 2014 w 2226"/>
              <a:gd name="T51" fmla="*/ 1288 h 2292"/>
              <a:gd name="T52" fmla="*/ 2002 w 2226"/>
              <a:gd name="T53" fmla="*/ 1090 h 2292"/>
              <a:gd name="T54" fmla="*/ 2073 w 2226"/>
              <a:gd name="T55" fmla="*/ 1009 h 2292"/>
              <a:gd name="T56" fmla="*/ 2190 w 2226"/>
              <a:gd name="T57" fmla="*/ 877 h 2292"/>
              <a:gd name="T58" fmla="*/ 2222 w 2226"/>
              <a:gd name="T59" fmla="*/ 732 h 2292"/>
              <a:gd name="T60" fmla="*/ 2157 w 2226"/>
              <a:gd name="T61" fmla="*/ 599 h 2292"/>
              <a:gd name="T62" fmla="*/ 2059 w 2226"/>
              <a:gd name="T63" fmla="*/ 563 h 2292"/>
              <a:gd name="T64" fmla="*/ 1921 w 2226"/>
              <a:gd name="T65" fmla="*/ 462 h 2292"/>
              <a:gd name="T66" fmla="*/ 1742 w 2226"/>
              <a:gd name="T67" fmla="*/ 450 h 2292"/>
              <a:gd name="T68" fmla="*/ 1670 w 2226"/>
              <a:gd name="T69" fmla="*/ 447 h 2292"/>
              <a:gd name="T70" fmla="*/ 1636 w 2226"/>
              <a:gd name="T71" fmla="*/ 394 h 2292"/>
              <a:gd name="T72" fmla="*/ 1512 w 2226"/>
              <a:gd name="T73" fmla="*/ 348 h 2292"/>
              <a:gd name="T74" fmla="*/ 1411 w 2226"/>
              <a:gd name="T75" fmla="*/ 409 h 2292"/>
              <a:gd name="T76" fmla="*/ 1338 w 2226"/>
              <a:gd name="T77" fmla="*/ 405 h 2292"/>
              <a:gd name="T78" fmla="*/ 1247 w 2226"/>
              <a:gd name="T79" fmla="*/ 384 h 2292"/>
              <a:gd name="T80" fmla="*/ 1317 w 2226"/>
              <a:gd name="T81" fmla="*/ 268 h 2292"/>
              <a:gd name="T82" fmla="*/ 1338 w 2226"/>
              <a:gd name="T83" fmla="*/ 184 h 2292"/>
              <a:gd name="T84" fmla="*/ 1291 w 2226"/>
              <a:gd name="T85" fmla="*/ 68 h 2292"/>
              <a:gd name="T86" fmla="*/ 1124 w 2226"/>
              <a:gd name="T87" fmla="*/ 135 h 2292"/>
              <a:gd name="T88" fmla="*/ 1003 w 2226"/>
              <a:gd name="T89" fmla="*/ 170 h 2292"/>
              <a:gd name="T90" fmla="*/ 960 w 2226"/>
              <a:gd name="T91" fmla="*/ 187 h 2292"/>
              <a:gd name="T92" fmla="*/ 812 w 2226"/>
              <a:gd name="T93" fmla="*/ 176 h 2292"/>
              <a:gd name="T94" fmla="*/ 811 w 2226"/>
              <a:gd name="T95" fmla="*/ 67 h 2292"/>
              <a:gd name="T96" fmla="*/ 745 w 2226"/>
              <a:gd name="T97" fmla="*/ 0 h 2292"/>
              <a:gd name="T98" fmla="*/ 700 w 2226"/>
              <a:gd name="T99" fmla="*/ 31 h 2292"/>
              <a:gd name="T100" fmla="*/ 589 w 2226"/>
              <a:gd name="T101" fmla="*/ 70 h 2292"/>
              <a:gd name="T102" fmla="*/ 560 w 2226"/>
              <a:gd name="T103" fmla="*/ 198 h 2292"/>
              <a:gd name="T104" fmla="*/ 453 w 2226"/>
              <a:gd name="T105" fmla="*/ 258 h 2292"/>
              <a:gd name="T106" fmla="*/ 286 w 2226"/>
              <a:gd name="T107" fmla="*/ 197 h 2292"/>
              <a:gd name="T108" fmla="*/ 253 w 2226"/>
              <a:gd name="T109" fmla="*/ 240 h 2292"/>
              <a:gd name="T110" fmla="*/ 198 w 2226"/>
              <a:gd name="T111" fmla="*/ 311 h 2292"/>
              <a:gd name="T112" fmla="*/ 246 w 2226"/>
              <a:gd name="T113" fmla="*/ 388 h 2292"/>
              <a:gd name="T114" fmla="*/ 194 w 2226"/>
              <a:gd name="T115" fmla="*/ 560 h 2292"/>
              <a:gd name="T116" fmla="*/ 100 w 2226"/>
              <a:gd name="T117" fmla="*/ 567 h 2292"/>
              <a:gd name="T118" fmla="*/ 16 w 2226"/>
              <a:gd name="T119" fmla="*/ 687 h 2292"/>
              <a:gd name="T120" fmla="*/ 22 w 2226"/>
              <a:gd name="T121" fmla="*/ 824 h 2292"/>
              <a:gd name="T122" fmla="*/ 120 w 2226"/>
              <a:gd name="T123" fmla="*/ 905 h 2292"/>
              <a:gd name="T124" fmla="*/ 191 w 2226"/>
              <a:gd name="T125" fmla="*/ 949 h 2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58" name="Freeform 10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>
              <a:gd name="T0" fmla="*/ 94 w 161"/>
              <a:gd name="T1" fmla="*/ 0 h 93"/>
              <a:gd name="T2" fmla="*/ 107 w 161"/>
              <a:gd name="T3" fmla="*/ 18 h 93"/>
              <a:gd name="T4" fmla="*/ 112 w 161"/>
              <a:gd name="T5" fmla="*/ 12 h 93"/>
              <a:gd name="T6" fmla="*/ 117 w 161"/>
              <a:gd name="T7" fmla="*/ 8 h 93"/>
              <a:gd name="T8" fmla="*/ 122 w 161"/>
              <a:gd name="T9" fmla="*/ 5 h 93"/>
              <a:gd name="T10" fmla="*/ 127 w 161"/>
              <a:gd name="T11" fmla="*/ 3 h 93"/>
              <a:gd name="T12" fmla="*/ 137 w 161"/>
              <a:gd name="T13" fmla="*/ 1 h 93"/>
              <a:gd name="T14" fmla="*/ 148 w 161"/>
              <a:gd name="T15" fmla="*/ 0 h 93"/>
              <a:gd name="T16" fmla="*/ 151 w 161"/>
              <a:gd name="T17" fmla="*/ 0 h 93"/>
              <a:gd name="T18" fmla="*/ 161 w 161"/>
              <a:gd name="T19" fmla="*/ 0 h 93"/>
              <a:gd name="T20" fmla="*/ 161 w 161"/>
              <a:gd name="T21" fmla="*/ 92 h 93"/>
              <a:gd name="T22" fmla="*/ 155 w 161"/>
              <a:gd name="T23" fmla="*/ 93 h 93"/>
              <a:gd name="T24" fmla="*/ 150 w 161"/>
              <a:gd name="T25" fmla="*/ 93 h 93"/>
              <a:gd name="T26" fmla="*/ 145 w 161"/>
              <a:gd name="T27" fmla="*/ 92 h 93"/>
              <a:gd name="T28" fmla="*/ 140 w 161"/>
              <a:gd name="T29" fmla="*/ 91 h 93"/>
              <a:gd name="T30" fmla="*/ 129 w 161"/>
              <a:gd name="T31" fmla="*/ 88 h 93"/>
              <a:gd name="T32" fmla="*/ 120 w 161"/>
              <a:gd name="T33" fmla="*/ 82 h 93"/>
              <a:gd name="T34" fmla="*/ 111 w 161"/>
              <a:gd name="T35" fmla="*/ 75 h 93"/>
              <a:gd name="T36" fmla="*/ 104 w 161"/>
              <a:gd name="T37" fmla="*/ 67 h 93"/>
              <a:gd name="T38" fmla="*/ 97 w 161"/>
              <a:gd name="T39" fmla="*/ 59 h 93"/>
              <a:gd name="T40" fmla="*/ 94 w 161"/>
              <a:gd name="T41" fmla="*/ 49 h 93"/>
              <a:gd name="T42" fmla="*/ 92 w 161"/>
              <a:gd name="T43" fmla="*/ 50 h 93"/>
              <a:gd name="T44" fmla="*/ 89 w 161"/>
              <a:gd name="T45" fmla="*/ 51 h 93"/>
              <a:gd name="T46" fmla="*/ 86 w 161"/>
              <a:gd name="T47" fmla="*/ 51 h 93"/>
              <a:gd name="T48" fmla="*/ 84 w 161"/>
              <a:gd name="T49" fmla="*/ 51 h 93"/>
              <a:gd name="T50" fmla="*/ 78 w 161"/>
              <a:gd name="T51" fmla="*/ 50 h 93"/>
              <a:gd name="T52" fmla="*/ 74 w 161"/>
              <a:gd name="T53" fmla="*/ 49 h 93"/>
              <a:gd name="T54" fmla="*/ 65 w 161"/>
              <a:gd name="T55" fmla="*/ 48 h 93"/>
              <a:gd name="T56" fmla="*/ 55 w 161"/>
              <a:gd name="T57" fmla="*/ 45 h 93"/>
              <a:gd name="T58" fmla="*/ 44 w 161"/>
              <a:gd name="T59" fmla="*/ 40 h 93"/>
              <a:gd name="T60" fmla="*/ 32 w 161"/>
              <a:gd name="T61" fmla="*/ 34 h 93"/>
              <a:gd name="T62" fmla="*/ 21 w 161"/>
              <a:gd name="T63" fmla="*/ 26 h 93"/>
              <a:gd name="T64" fmla="*/ 12 w 161"/>
              <a:gd name="T65" fmla="*/ 18 h 93"/>
              <a:gd name="T66" fmla="*/ 8 w 161"/>
              <a:gd name="T67" fmla="*/ 14 h 93"/>
              <a:gd name="T68" fmla="*/ 5 w 161"/>
              <a:gd name="T69" fmla="*/ 9 h 93"/>
              <a:gd name="T70" fmla="*/ 3 w 161"/>
              <a:gd name="T71" fmla="*/ 5 h 93"/>
              <a:gd name="T72" fmla="*/ 0 w 161"/>
              <a:gd name="T73" fmla="*/ 0 h 93"/>
              <a:gd name="T74" fmla="*/ 94 w 161"/>
              <a:gd name="T7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59" name="Freeform 11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>
              <a:gd name="T0" fmla="*/ 38 w 192"/>
              <a:gd name="T1" fmla="*/ 3 h 307"/>
              <a:gd name="T2" fmla="*/ 37 w 192"/>
              <a:gd name="T3" fmla="*/ 0 h 307"/>
              <a:gd name="T4" fmla="*/ 57 w 192"/>
              <a:gd name="T5" fmla="*/ 3 h 307"/>
              <a:gd name="T6" fmla="*/ 110 w 192"/>
              <a:gd name="T7" fmla="*/ 14 h 307"/>
              <a:gd name="T8" fmla="*/ 155 w 192"/>
              <a:gd name="T9" fmla="*/ 25 h 307"/>
              <a:gd name="T10" fmla="*/ 181 w 192"/>
              <a:gd name="T11" fmla="*/ 28 h 307"/>
              <a:gd name="T12" fmla="*/ 192 w 192"/>
              <a:gd name="T13" fmla="*/ 35 h 307"/>
              <a:gd name="T14" fmla="*/ 188 w 192"/>
              <a:gd name="T15" fmla="*/ 47 h 307"/>
              <a:gd name="T16" fmla="*/ 175 w 192"/>
              <a:gd name="T17" fmla="*/ 82 h 307"/>
              <a:gd name="T18" fmla="*/ 158 w 192"/>
              <a:gd name="T19" fmla="*/ 127 h 307"/>
              <a:gd name="T20" fmla="*/ 147 w 192"/>
              <a:gd name="T21" fmla="*/ 165 h 307"/>
              <a:gd name="T22" fmla="*/ 146 w 192"/>
              <a:gd name="T23" fmla="*/ 207 h 307"/>
              <a:gd name="T24" fmla="*/ 144 w 192"/>
              <a:gd name="T25" fmla="*/ 249 h 307"/>
              <a:gd name="T26" fmla="*/ 134 w 192"/>
              <a:gd name="T27" fmla="*/ 277 h 307"/>
              <a:gd name="T28" fmla="*/ 106 w 192"/>
              <a:gd name="T29" fmla="*/ 296 h 307"/>
              <a:gd name="T30" fmla="*/ 83 w 192"/>
              <a:gd name="T31" fmla="*/ 303 h 307"/>
              <a:gd name="T32" fmla="*/ 72 w 192"/>
              <a:gd name="T33" fmla="*/ 307 h 307"/>
              <a:gd name="T34" fmla="*/ 52 w 192"/>
              <a:gd name="T35" fmla="*/ 305 h 307"/>
              <a:gd name="T36" fmla="*/ 32 w 192"/>
              <a:gd name="T37" fmla="*/ 291 h 307"/>
              <a:gd name="T38" fmla="*/ 30 w 192"/>
              <a:gd name="T39" fmla="*/ 277 h 307"/>
              <a:gd name="T40" fmla="*/ 22 w 192"/>
              <a:gd name="T41" fmla="*/ 257 h 307"/>
              <a:gd name="T42" fmla="*/ 10 w 192"/>
              <a:gd name="T43" fmla="*/ 231 h 307"/>
              <a:gd name="T44" fmla="*/ 2 w 192"/>
              <a:gd name="T45" fmla="*/ 211 h 307"/>
              <a:gd name="T46" fmla="*/ 0 w 192"/>
              <a:gd name="T47" fmla="*/ 197 h 307"/>
              <a:gd name="T48" fmla="*/ 0 w 192"/>
              <a:gd name="T49" fmla="*/ 180 h 307"/>
              <a:gd name="T50" fmla="*/ 2 w 192"/>
              <a:gd name="T51" fmla="*/ 165 h 307"/>
              <a:gd name="T52" fmla="*/ 11 w 192"/>
              <a:gd name="T53" fmla="*/ 145 h 307"/>
              <a:gd name="T54" fmla="*/ 33 w 192"/>
              <a:gd name="T55" fmla="*/ 109 h 307"/>
              <a:gd name="T56" fmla="*/ 48 w 192"/>
              <a:gd name="T57" fmla="*/ 81 h 307"/>
              <a:gd name="T58" fmla="*/ 52 w 192"/>
              <a:gd name="T59" fmla="*/ 62 h 307"/>
              <a:gd name="T60" fmla="*/ 53 w 192"/>
              <a:gd name="T61" fmla="*/ 41 h 307"/>
              <a:gd name="T62" fmla="*/ 55 w 192"/>
              <a:gd name="T63" fmla="*/ 30 h 307"/>
              <a:gd name="T64" fmla="*/ 57 w 192"/>
              <a:gd name="T65" fmla="*/ 26 h 307"/>
              <a:gd name="T66" fmla="*/ 60 w 192"/>
              <a:gd name="T67" fmla="*/ 22 h 307"/>
              <a:gd name="T68" fmla="*/ 44 w 192"/>
              <a:gd name="T69" fmla="*/ 7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61" name="Freeform 13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>
              <a:gd name="T0" fmla="*/ 190 w 382"/>
              <a:gd name="T1" fmla="*/ 21 h 148"/>
              <a:gd name="T2" fmla="*/ 177 w 382"/>
              <a:gd name="T3" fmla="*/ 31 h 148"/>
              <a:gd name="T4" fmla="*/ 174 w 382"/>
              <a:gd name="T5" fmla="*/ 45 h 148"/>
              <a:gd name="T6" fmla="*/ 168 w 382"/>
              <a:gd name="T7" fmla="*/ 53 h 148"/>
              <a:gd name="T8" fmla="*/ 166 w 382"/>
              <a:gd name="T9" fmla="*/ 61 h 148"/>
              <a:gd name="T10" fmla="*/ 177 w 382"/>
              <a:gd name="T11" fmla="*/ 74 h 148"/>
              <a:gd name="T12" fmla="*/ 155 w 382"/>
              <a:gd name="T13" fmla="*/ 86 h 148"/>
              <a:gd name="T14" fmla="*/ 108 w 382"/>
              <a:gd name="T15" fmla="*/ 96 h 148"/>
              <a:gd name="T16" fmla="*/ 77 w 382"/>
              <a:gd name="T17" fmla="*/ 97 h 148"/>
              <a:gd name="T18" fmla="*/ 52 w 382"/>
              <a:gd name="T19" fmla="*/ 95 h 148"/>
              <a:gd name="T20" fmla="*/ 4 w 382"/>
              <a:gd name="T21" fmla="*/ 111 h 148"/>
              <a:gd name="T22" fmla="*/ 0 w 382"/>
              <a:gd name="T23" fmla="*/ 129 h 148"/>
              <a:gd name="T24" fmla="*/ 4 w 382"/>
              <a:gd name="T25" fmla="*/ 131 h 148"/>
              <a:gd name="T26" fmla="*/ 12 w 382"/>
              <a:gd name="T27" fmla="*/ 131 h 148"/>
              <a:gd name="T28" fmla="*/ 51 w 382"/>
              <a:gd name="T29" fmla="*/ 129 h 148"/>
              <a:gd name="T30" fmla="*/ 114 w 382"/>
              <a:gd name="T31" fmla="*/ 127 h 148"/>
              <a:gd name="T32" fmla="*/ 123 w 382"/>
              <a:gd name="T33" fmla="*/ 134 h 148"/>
              <a:gd name="T34" fmla="*/ 137 w 382"/>
              <a:gd name="T35" fmla="*/ 141 h 148"/>
              <a:gd name="T36" fmla="*/ 159 w 382"/>
              <a:gd name="T37" fmla="*/ 147 h 148"/>
              <a:gd name="T38" fmla="*/ 185 w 382"/>
              <a:gd name="T39" fmla="*/ 148 h 148"/>
              <a:gd name="T40" fmla="*/ 210 w 382"/>
              <a:gd name="T41" fmla="*/ 148 h 148"/>
              <a:gd name="T42" fmla="*/ 233 w 382"/>
              <a:gd name="T43" fmla="*/ 148 h 148"/>
              <a:gd name="T44" fmla="*/ 255 w 382"/>
              <a:gd name="T45" fmla="*/ 148 h 148"/>
              <a:gd name="T46" fmla="*/ 275 w 382"/>
              <a:gd name="T47" fmla="*/ 143 h 148"/>
              <a:gd name="T48" fmla="*/ 301 w 382"/>
              <a:gd name="T49" fmla="*/ 134 h 148"/>
              <a:gd name="T50" fmla="*/ 334 w 382"/>
              <a:gd name="T51" fmla="*/ 121 h 148"/>
              <a:gd name="T52" fmla="*/ 353 w 382"/>
              <a:gd name="T53" fmla="*/ 103 h 148"/>
              <a:gd name="T54" fmla="*/ 372 w 382"/>
              <a:gd name="T55" fmla="*/ 72 h 148"/>
              <a:gd name="T56" fmla="*/ 376 w 382"/>
              <a:gd name="T57" fmla="*/ 52 h 148"/>
              <a:gd name="T58" fmla="*/ 363 w 382"/>
              <a:gd name="T59" fmla="*/ 44 h 148"/>
              <a:gd name="T60" fmla="*/ 357 w 382"/>
              <a:gd name="T61" fmla="*/ 32 h 148"/>
              <a:gd name="T62" fmla="*/ 347 w 382"/>
              <a:gd name="T63" fmla="*/ 22 h 148"/>
              <a:gd name="T64" fmla="*/ 334 w 382"/>
              <a:gd name="T65" fmla="*/ 17 h 148"/>
              <a:gd name="T66" fmla="*/ 319 w 382"/>
              <a:gd name="T67" fmla="*/ 8 h 148"/>
              <a:gd name="T68" fmla="*/ 203 w 382"/>
              <a:gd name="T69" fmla="*/ 1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62" name="Freeform 1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>
              <a:gd name="T0" fmla="*/ 373 w 2936"/>
              <a:gd name="T1" fmla="*/ 1071 h 1983"/>
              <a:gd name="T2" fmla="*/ 385 w 2936"/>
              <a:gd name="T3" fmla="*/ 1182 h 1983"/>
              <a:gd name="T4" fmla="*/ 478 w 2936"/>
              <a:gd name="T5" fmla="*/ 1358 h 1983"/>
              <a:gd name="T6" fmla="*/ 768 w 2936"/>
              <a:gd name="T7" fmla="*/ 1492 h 1983"/>
              <a:gd name="T8" fmla="*/ 1036 w 2936"/>
              <a:gd name="T9" fmla="*/ 1552 h 1983"/>
              <a:gd name="T10" fmla="*/ 1124 w 2936"/>
              <a:gd name="T11" fmla="*/ 1529 h 1983"/>
              <a:gd name="T12" fmla="*/ 1401 w 2936"/>
              <a:gd name="T13" fmla="*/ 1448 h 1983"/>
              <a:gd name="T14" fmla="*/ 1547 w 2936"/>
              <a:gd name="T15" fmla="*/ 1542 h 1983"/>
              <a:gd name="T16" fmla="*/ 1577 w 2936"/>
              <a:gd name="T17" fmla="*/ 1697 h 1983"/>
              <a:gd name="T18" fmla="*/ 1607 w 2936"/>
              <a:gd name="T19" fmla="*/ 1773 h 1983"/>
              <a:gd name="T20" fmla="*/ 1706 w 2936"/>
              <a:gd name="T21" fmla="*/ 1912 h 1983"/>
              <a:gd name="T22" fmla="*/ 1842 w 2936"/>
              <a:gd name="T23" fmla="*/ 1859 h 1983"/>
              <a:gd name="T24" fmla="*/ 2072 w 2936"/>
              <a:gd name="T25" fmla="*/ 1854 h 1983"/>
              <a:gd name="T26" fmla="*/ 2265 w 2936"/>
              <a:gd name="T27" fmla="*/ 1983 h 1983"/>
              <a:gd name="T28" fmla="*/ 2357 w 2936"/>
              <a:gd name="T29" fmla="*/ 1910 h 1983"/>
              <a:gd name="T30" fmla="*/ 2457 w 2936"/>
              <a:gd name="T31" fmla="*/ 1866 h 1983"/>
              <a:gd name="T32" fmla="*/ 2546 w 2936"/>
              <a:gd name="T33" fmla="*/ 1826 h 1983"/>
              <a:gd name="T34" fmla="*/ 2683 w 2936"/>
              <a:gd name="T35" fmla="*/ 1732 h 1983"/>
              <a:gd name="T36" fmla="*/ 2719 w 2936"/>
              <a:gd name="T37" fmla="*/ 1616 h 1983"/>
              <a:gd name="T38" fmla="*/ 2794 w 2936"/>
              <a:gd name="T39" fmla="*/ 1420 h 1983"/>
              <a:gd name="T40" fmla="*/ 2705 w 2936"/>
              <a:gd name="T41" fmla="*/ 1375 h 1983"/>
              <a:gd name="T42" fmla="*/ 2640 w 2936"/>
              <a:gd name="T43" fmla="*/ 1273 h 1983"/>
              <a:gd name="T44" fmla="*/ 2669 w 2936"/>
              <a:gd name="T45" fmla="*/ 1227 h 1983"/>
              <a:gd name="T46" fmla="*/ 2532 w 2936"/>
              <a:gd name="T47" fmla="*/ 1061 h 1983"/>
              <a:gd name="T48" fmla="*/ 2583 w 2936"/>
              <a:gd name="T49" fmla="*/ 993 h 1983"/>
              <a:gd name="T50" fmla="*/ 2453 w 2936"/>
              <a:gd name="T51" fmla="*/ 962 h 1983"/>
              <a:gd name="T52" fmla="*/ 2333 w 2936"/>
              <a:gd name="T53" fmla="*/ 887 h 1983"/>
              <a:gd name="T54" fmla="*/ 2368 w 2936"/>
              <a:gd name="T55" fmla="*/ 836 h 1983"/>
              <a:gd name="T56" fmla="*/ 2443 w 2936"/>
              <a:gd name="T57" fmla="*/ 756 h 1983"/>
              <a:gd name="T58" fmla="*/ 2496 w 2936"/>
              <a:gd name="T59" fmla="*/ 780 h 1983"/>
              <a:gd name="T60" fmla="*/ 2532 w 2936"/>
              <a:gd name="T61" fmla="*/ 853 h 1983"/>
              <a:gd name="T62" fmla="*/ 2689 w 2936"/>
              <a:gd name="T63" fmla="*/ 763 h 1983"/>
              <a:gd name="T64" fmla="*/ 2828 w 2936"/>
              <a:gd name="T65" fmla="*/ 673 h 1983"/>
              <a:gd name="T66" fmla="*/ 2886 w 2936"/>
              <a:gd name="T67" fmla="*/ 564 h 1983"/>
              <a:gd name="T68" fmla="*/ 2928 w 2936"/>
              <a:gd name="T69" fmla="*/ 494 h 1983"/>
              <a:gd name="T70" fmla="*/ 2893 w 2936"/>
              <a:gd name="T71" fmla="*/ 307 h 1983"/>
              <a:gd name="T72" fmla="*/ 2722 w 2936"/>
              <a:gd name="T73" fmla="*/ 341 h 1983"/>
              <a:gd name="T74" fmla="*/ 2461 w 2936"/>
              <a:gd name="T75" fmla="*/ 205 h 1983"/>
              <a:gd name="T76" fmla="*/ 2300 w 2936"/>
              <a:gd name="T77" fmla="*/ 89 h 1983"/>
              <a:gd name="T78" fmla="*/ 1980 w 2936"/>
              <a:gd name="T79" fmla="*/ 53 h 1983"/>
              <a:gd name="T80" fmla="*/ 2007 w 2936"/>
              <a:gd name="T81" fmla="*/ 155 h 1983"/>
              <a:gd name="T82" fmla="*/ 1952 w 2936"/>
              <a:gd name="T83" fmla="*/ 227 h 1983"/>
              <a:gd name="T84" fmla="*/ 2025 w 2936"/>
              <a:gd name="T85" fmla="*/ 350 h 1983"/>
              <a:gd name="T86" fmla="*/ 2146 w 2936"/>
              <a:gd name="T87" fmla="*/ 370 h 1983"/>
              <a:gd name="T88" fmla="*/ 2041 w 2936"/>
              <a:gd name="T89" fmla="*/ 455 h 1983"/>
              <a:gd name="T90" fmla="*/ 1891 w 2936"/>
              <a:gd name="T91" fmla="*/ 570 h 1983"/>
              <a:gd name="T92" fmla="*/ 1630 w 2936"/>
              <a:gd name="T93" fmla="*/ 713 h 1983"/>
              <a:gd name="T94" fmla="*/ 1228 w 2936"/>
              <a:gd name="T95" fmla="*/ 659 h 1983"/>
              <a:gd name="T96" fmla="*/ 1036 w 2936"/>
              <a:gd name="T97" fmla="*/ 560 h 1983"/>
              <a:gd name="T98" fmla="*/ 752 w 2936"/>
              <a:gd name="T99" fmla="*/ 495 h 1983"/>
              <a:gd name="T100" fmla="*/ 686 w 2936"/>
              <a:gd name="T101" fmla="*/ 379 h 1983"/>
              <a:gd name="T102" fmla="*/ 512 w 2936"/>
              <a:gd name="T103" fmla="*/ 299 h 1983"/>
              <a:gd name="T104" fmla="*/ 430 w 2936"/>
              <a:gd name="T105" fmla="*/ 311 h 1983"/>
              <a:gd name="T106" fmla="*/ 423 w 2936"/>
              <a:gd name="T107" fmla="*/ 388 h 1983"/>
              <a:gd name="T108" fmla="*/ 305 w 2936"/>
              <a:gd name="T109" fmla="*/ 382 h 1983"/>
              <a:gd name="T110" fmla="*/ 227 w 2936"/>
              <a:gd name="T111" fmla="*/ 507 h 1983"/>
              <a:gd name="T112" fmla="*/ 260 w 2936"/>
              <a:gd name="T113" fmla="*/ 595 h 1983"/>
              <a:gd name="T114" fmla="*/ 252 w 2936"/>
              <a:gd name="T115" fmla="*/ 716 h 1983"/>
              <a:gd name="T116" fmla="*/ 118 w 2936"/>
              <a:gd name="T117" fmla="*/ 781 h 1983"/>
              <a:gd name="T118" fmla="*/ 40 w 2936"/>
              <a:gd name="T119" fmla="*/ 894 h 1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63" name="Freeform 15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>
              <a:gd name="T0" fmla="*/ 345 w 504"/>
              <a:gd name="T1" fmla="*/ 493 h 524"/>
              <a:gd name="T2" fmla="*/ 256 w 504"/>
              <a:gd name="T3" fmla="*/ 505 h 524"/>
              <a:gd name="T4" fmla="*/ 235 w 504"/>
              <a:gd name="T5" fmla="*/ 517 h 524"/>
              <a:gd name="T6" fmla="*/ 210 w 504"/>
              <a:gd name="T7" fmla="*/ 522 h 524"/>
              <a:gd name="T8" fmla="*/ 155 w 504"/>
              <a:gd name="T9" fmla="*/ 524 h 524"/>
              <a:gd name="T10" fmla="*/ 106 w 504"/>
              <a:gd name="T11" fmla="*/ 522 h 524"/>
              <a:gd name="T12" fmla="*/ 94 w 504"/>
              <a:gd name="T13" fmla="*/ 516 h 524"/>
              <a:gd name="T14" fmla="*/ 71 w 504"/>
              <a:gd name="T15" fmla="*/ 509 h 524"/>
              <a:gd name="T16" fmla="*/ 36 w 504"/>
              <a:gd name="T17" fmla="*/ 496 h 524"/>
              <a:gd name="T18" fmla="*/ 22 w 504"/>
              <a:gd name="T19" fmla="*/ 486 h 524"/>
              <a:gd name="T20" fmla="*/ 20 w 504"/>
              <a:gd name="T21" fmla="*/ 477 h 524"/>
              <a:gd name="T22" fmla="*/ 27 w 504"/>
              <a:gd name="T23" fmla="*/ 463 h 524"/>
              <a:gd name="T24" fmla="*/ 32 w 504"/>
              <a:gd name="T25" fmla="*/ 445 h 524"/>
              <a:gd name="T26" fmla="*/ 28 w 504"/>
              <a:gd name="T27" fmla="*/ 432 h 524"/>
              <a:gd name="T28" fmla="*/ 10 w 504"/>
              <a:gd name="T29" fmla="*/ 417 h 524"/>
              <a:gd name="T30" fmla="*/ 1 w 504"/>
              <a:gd name="T31" fmla="*/ 407 h 524"/>
              <a:gd name="T32" fmla="*/ 1 w 504"/>
              <a:gd name="T33" fmla="*/ 391 h 524"/>
              <a:gd name="T34" fmla="*/ 17 w 504"/>
              <a:gd name="T35" fmla="*/ 360 h 524"/>
              <a:gd name="T36" fmla="*/ 48 w 504"/>
              <a:gd name="T37" fmla="*/ 328 h 524"/>
              <a:gd name="T38" fmla="*/ 86 w 504"/>
              <a:gd name="T39" fmla="*/ 299 h 524"/>
              <a:gd name="T40" fmla="*/ 124 w 504"/>
              <a:gd name="T41" fmla="*/ 279 h 524"/>
              <a:gd name="T42" fmla="*/ 160 w 504"/>
              <a:gd name="T43" fmla="*/ 272 h 524"/>
              <a:gd name="T44" fmla="*/ 155 w 504"/>
              <a:gd name="T45" fmla="*/ 264 h 524"/>
              <a:gd name="T46" fmla="*/ 142 w 504"/>
              <a:gd name="T47" fmla="*/ 259 h 524"/>
              <a:gd name="T48" fmla="*/ 133 w 504"/>
              <a:gd name="T49" fmla="*/ 251 h 524"/>
              <a:gd name="T50" fmla="*/ 127 w 504"/>
              <a:gd name="T51" fmla="*/ 229 h 524"/>
              <a:gd name="T52" fmla="*/ 124 w 504"/>
              <a:gd name="T53" fmla="*/ 195 h 524"/>
              <a:gd name="T54" fmla="*/ 115 w 504"/>
              <a:gd name="T55" fmla="*/ 161 h 524"/>
              <a:gd name="T56" fmla="*/ 100 w 504"/>
              <a:gd name="T57" fmla="*/ 134 h 524"/>
              <a:gd name="T58" fmla="*/ 68 w 504"/>
              <a:gd name="T59" fmla="*/ 90 h 524"/>
              <a:gd name="T60" fmla="*/ 86 w 504"/>
              <a:gd name="T61" fmla="*/ 60 h 524"/>
              <a:gd name="T62" fmla="*/ 106 w 504"/>
              <a:gd name="T63" fmla="*/ 56 h 524"/>
              <a:gd name="T64" fmla="*/ 130 w 504"/>
              <a:gd name="T65" fmla="*/ 58 h 524"/>
              <a:gd name="T66" fmla="*/ 139 w 504"/>
              <a:gd name="T67" fmla="*/ 61 h 524"/>
              <a:gd name="T68" fmla="*/ 160 w 504"/>
              <a:gd name="T69" fmla="*/ 56 h 524"/>
              <a:gd name="T70" fmla="*/ 164 w 504"/>
              <a:gd name="T71" fmla="*/ 33 h 524"/>
              <a:gd name="T72" fmla="*/ 171 w 504"/>
              <a:gd name="T73" fmla="*/ 13 h 524"/>
              <a:gd name="T74" fmla="*/ 187 w 504"/>
              <a:gd name="T75" fmla="*/ 0 h 524"/>
              <a:gd name="T76" fmla="*/ 225 w 504"/>
              <a:gd name="T77" fmla="*/ 0 h 524"/>
              <a:gd name="T78" fmla="*/ 254 w 504"/>
              <a:gd name="T79" fmla="*/ 8 h 524"/>
              <a:gd name="T80" fmla="*/ 280 w 504"/>
              <a:gd name="T81" fmla="*/ 21 h 524"/>
              <a:gd name="T82" fmla="*/ 279 w 504"/>
              <a:gd name="T83" fmla="*/ 62 h 524"/>
              <a:gd name="T84" fmla="*/ 292 w 504"/>
              <a:gd name="T85" fmla="*/ 77 h 524"/>
              <a:gd name="T86" fmla="*/ 319 w 504"/>
              <a:gd name="T87" fmla="*/ 94 h 524"/>
              <a:gd name="T88" fmla="*/ 356 w 504"/>
              <a:gd name="T89" fmla="*/ 119 h 524"/>
              <a:gd name="T90" fmla="*/ 346 w 504"/>
              <a:gd name="T91" fmla="*/ 135 h 524"/>
              <a:gd name="T92" fmla="*/ 340 w 504"/>
              <a:gd name="T93" fmla="*/ 153 h 524"/>
              <a:gd name="T94" fmla="*/ 344 w 504"/>
              <a:gd name="T95" fmla="*/ 176 h 524"/>
              <a:gd name="T96" fmla="*/ 363 w 504"/>
              <a:gd name="T97" fmla="*/ 200 h 524"/>
              <a:gd name="T98" fmla="*/ 378 w 504"/>
              <a:gd name="T99" fmla="*/ 210 h 524"/>
              <a:gd name="T100" fmla="*/ 386 w 504"/>
              <a:gd name="T101" fmla="*/ 256 h 524"/>
              <a:gd name="T102" fmla="*/ 404 w 504"/>
              <a:gd name="T103" fmla="*/ 289 h 524"/>
              <a:gd name="T104" fmla="*/ 432 w 504"/>
              <a:gd name="T105" fmla="*/ 315 h 524"/>
              <a:gd name="T106" fmla="*/ 463 w 504"/>
              <a:gd name="T107" fmla="*/ 335 h 524"/>
              <a:gd name="T108" fmla="*/ 466 w 504"/>
              <a:gd name="T109" fmla="*/ 390 h 524"/>
              <a:gd name="T110" fmla="*/ 397 w 504"/>
              <a:gd name="T111" fmla="*/ 457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65" name="Freeform 17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>
              <a:gd name="T0" fmla="*/ 327 w 578"/>
              <a:gd name="T1" fmla="*/ 88 h 524"/>
              <a:gd name="T2" fmla="*/ 312 w 578"/>
              <a:gd name="T3" fmla="*/ 85 h 524"/>
              <a:gd name="T4" fmla="*/ 301 w 578"/>
              <a:gd name="T5" fmla="*/ 79 h 524"/>
              <a:gd name="T6" fmla="*/ 275 w 578"/>
              <a:gd name="T7" fmla="*/ 66 h 524"/>
              <a:gd name="T8" fmla="*/ 251 w 578"/>
              <a:gd name="T9" fmla="*/ 78 h 524"/>
              <a:gd name="T10" fmla="*/ 246 w 578"/>
              <a:gd name="T11" fmla="*/ 105 h 524"/>
              <a:gd name="T12" fmla="*/ 253 w 578"/>
              <a:gd name="T13" fmla="*/ 153 h 524"/>
              <a:gd name="T14" fmla="*/ 270 w 578"/>
              <a:gd name="T15" fmla="*/ 172 h 524"/>
              <a:gd name="T16" fmla="*/ 287 w 578"/>
              <a:gd name="T17" fmla="*/ 178 h 524"/>
              <a:gd name="T18" fmla="*/ 298 w 578"/>
              <a:gd name="T19" fmla="*/ 191 h 524"/>
              <a:gd name="T20" fmla="*/ 351 w 578"/>
              <a:gd name="T21" fmla="*/ 225 h 524"/>
              <a:gd name="T22" fmla="*/ 449 w 578"/>
              <a:gd name="T23" fmla="*/ 309 h 524"/>
              <a:gd name="T24" fmla="*/ 477 w 578"/>
              <a:gd name="T25" fmla="*/ 322 h 524"/>
              <a:gd name="T26" fmla="*/ 504 w 578"/>
              <a:gd name="T27" fmla="*/ 328 h 524"/>
              <a:gd name="T28" fmla="*/ 536 w 578"/>
              <a:gd name="T29" fmla="*/ 356 h 524"/>
              <a:gd name="T30" fmla="*/ 578 w 578"/>
              <a:gd name="T31" fmla="*/ 376 h 524"/>
              <a:gd name="T32" fmla="*/ 565 w 578"/>
              <a:gd name="T33" fmla="*/ 407 h 524"/>
              <a:gd name="T34" fmla="*/ 526 w 578"/>
              <a:gd name="T35" fmla="*/ 383 h 524"/>
              <a:gd name="T36" fmla="*/ 508 w 578"/>
              <a:gd name="T37" fmla="*/ 376 h 524"/>
              <a:gd name="T38" fmla="*/ 498 w 578"/>
              <a:gd name="T39" fmla="*/ 397 h 524"/>
              <a:gd name="T40" fmla="*/ 506 w 578"/>
              <a:gd name="T41" fmla="*/ 426 h 524"/>
              <a:gd name="T42" fmla="*/ 514 w 578"/>
              <a:gd name="T43" fmla="*/ 442 h 524"/>
              <a:gd name="T44" fmla="*/ 500 w 578"/>
              <a:gd name="T45" fmla="*/ 468 h 524"/>
              <a:gd name="T46" fmla="*/ 483 w 578"/>
              <a:gd name="T47" fmla="*/ 505 h 524"/>
              <a:gd name="T48" fmla="*/ 465 w 578"/>
              <a:gd name="T49" fmla="*/ 522 h 524"/>
              <a:gd name="T50" fmla="*/ 436 w 578"/>
              <a:gd name="T51" fmla="*/ 505 h 524"/>
              <a:gd name="T52" fmla="*/ 456 w 578"/>
              <a:gd name="T53" fmla="*/ 484 h 524"/>
              <a:gd name="T54" fmla="*/ 465 w 578"/>
              <a:gd name="T55" fmla="*/ 467 h 524"/>
              <a:gd name="T56" fmla="*/ 461 w 578"/>
              <a:gd name="T57" fmla="*/ 441 h 524"/>
              <a:gd name="T58" fmla="*/ 427 w 578"/>
              <a:gd name="T59" fmla="*/ 395 h 524"/>
              <a:gd name="T60" fmla="*/ 385 w 578"/>
              <a:gd name="T61" fmla="*/ 369 h 524"/>
              <a:gd name="T62" fmla="*/ 355 w 578"/>
              <a:gd name="T63" fmla="*/ 356 h 524"/>
              <a:gd name="T64" fmla="*/ 318 w 578"/>
              <a:gd name="T65" fmla="*/ 330 h 524"/>
              <a:gd name="T66" fmla="*/ 268 w 578"/>
              <a:gd name="T67" fmla="*/ 315 h 524"/>
              <a:gd name="T68" fmla="*/ 218 w 578"/>
              <a:gd name="T69" fmla="*/ 285 h 524"/>
              <a:gd name="T70" fmla="*/ 162 w 578"/>
              <a:gd name="T71" fmla="*/ 229 h 524"/>
              <a:gd name="T72" fmla="*/ 126 w 578"/>
              <a:gd name="T73" fmla="*/ 168 h 524"/>
              <a:gd name="T74" fmla="*/ 77 w 578"/>
              <a:gd name="T75" fmla="*/ 154 h 524"/>
              <a:gd name="T76" fmla="*/ 51 w 578"/>
              <a:gd name="T77" fmla="*/ 157 h 524"/>
              <a:gd name="T78" fmla="*/ 15 w 578"/>
              <a:gd name="T79" fmla="*/ 165 h 524"/>
              <a:gd name="T80" fmla="*/ 3 w 578"/>
              <a:gd name="T81" fmla="*/ 133 h 524"/>
              <a:gd name="T82" fmla="*/ 1 w 578"/>
              <a:gd name="T83" fmla="*/ 93 h 524"/>
              <a:gd name="T84" fmla="*/ 6 w 578"/>
              <a:gd name="T85" fmla="*/ 49 h 524"/>
              <a:gd name="T86" fmla="*/ 45 w 578"/>
              <a:gd name="T87" fmla="*/ 41 h 524"/>
              <a:gd name="T88" fmla="*/ 68 w 578"/>
              <a:gd name="T89" fmla="*/ 33 h 524"/>
              <a:gd name="T90" fmla="*/ 83 w 578"/>
              <a:gd name="T91" fmla="*/ 48 h 524"/>
              <a:gd name="T92" fmla="*/ 104 w 578"/>
              <a:gd name="T93" fmla="*/ 44 h 524"/>
              <a:gd name="T94" fmla="*/ 149 w 578"/>
              <a:gd name="T95" fmla="*/ 16 h 524"/>
              <a:gd name="T96" fmla="*/ 239 w 578"/>
              <a:gd name="T97" fmla="*/ 0 h 524"/>
              <a:gd name="T98" fmla="*/ 257 w 578"/>
              <a:gd name="T99" fmla="*/ 13 h 524"/>
              <a:gd name="T100" fmla="*/ 332 w 578"/>
              <a:gd name="T101" fmla="*/ 19 h 524"/>
              <a:gd name="T102" fmla="*/ 322 w 578"/>
              <a:gd name="T103" fmla="*/ 65 h 524"/>
              <a:gd name="T104" fmla="*/ 325 w 578"/>
              <a:gd name="T105" fmla="*/ 90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66" name="Freeform 18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>
              <a:gd name="T0" fmla="*/ 0 w 79"/>
              <a:gd name="T1" fmla="*/ 37 h 160"/>
              <a:gd name="T2" fmla="*/ 6 w 79"/>
              <a:gd name="T3" fmla="*/ 37 h 160"/>
              <a:gd name="T4" fmla="*/ 11 w 79"/>
              <a:gd name="T5" fmla="*/ 36 h 160"/>
              <a:gd name="T6" fmla="*/ 16 w 79"/>
              <a:gd name="T7" fmla="*/ 35 h 160"/>
              <a:gd name="T8" fmla="*/ 19 w 79"/>
              <a:gd name="T9" fmla="*/ 33 h 160"/>
              <a:gd name="T10" fmla="*/ 26 w 79"/>
              <a:gd name="T11" fmla="*/ 28 h 160"/>
              <a:gd name="T12" fmla="*/ 31 w 79"/>
              <a:gd name="T13" fmla="*/ 22 h 160"/>
              <a:gd name="T14" fmla="*/ 37 w 79"/>
              <a:gd name="T15" fmla="*/ 16 h 160"/>
              <a:gd name="T16" fmla="*/ 41 w 79"/>
              <a:gd name="T17" fmla="*/ 10 h 160"/>
              <a:gd name="T18" fmla="*/ 46 w 79"/>
              <a:gd name="T19" fmla="*/ 5 h 160"/>
              <a:gd name="T20" fmla="*/ 53 w 79"/>
              <a:gd name="T21" fmla="*/ 0 h 160"/>
              <a:gd name="T22" fmla="*/ 57 w 79"/>
              <a:gd name="T23" fmla="*/ 3 h 160"/>
              <a:gd name="T24" fmla="*/ 62 w 79"/>
              <a:gd name="T25" fmla="*/ 7 h 160"/>
              <a:gd name="T26" fmla="*/ 64 w 79"/>
              <a:gd name="T27" fmla="*/ 10 h 160"/>
              <a:gd name="T28" fmla="*/ 66 w 79"/>
              <a:gd name="T29" fmla="*/ 14 h 160"/>
              <a:gd name="T30" fmla="*/ 69 w 79"/>
              <a:gd name="T31" fmla="*/ 22 h 160"/>
              <a:gd name="T32" fmla="*/ 72 w 79"/>
              <a:gd name="T33" fmla="*/ 32 h 160"/>
              <a:gd name="T34" fmla="*/ 73 w 79"/>
              <a:gd name="T35" fmla="*/ 40 h 160"/>
              <a:gd name="T36" fmla="*/ 74 w 79"/>
              <a:gd name="T37" fmla="*/ 49 h 160"/>
              <a:gd name="T38" fmla="*/ 76 w 79"/>
              <a:gd name="T39" fmla="*/ 58 h 160"/>
              <a:gd name="T40" fmla="*/ 79 w 79"/>
              <a:gd name="T41" fmla="*/ 67 h 160"/>
              <a:gd name="T42" fmla="*/ 79 w 79"/>
              <a:gd name="T43" fmla="*/ 98 h 160"/>
              <a:gd name="T44" fmla="*/ 68 w 79"/>
              <a:gd name="T45" fmla="*/ 115 h 160"/>
              <a:gd name="T46" fmla="*/ 59 w 79"/>
              <a:gd name="T47" fmla="*/ 129 h 160"/>
              <a:gd name="T48" fmla="*/ 53 w 79"/>
              <a:gd name="T49" fmla="*/ 136 h 160"/>
              <a:gd name="T50" fmla="*/ 50 w 79"/>
              <a:gd name="T51" fmla="*/ 144 h 160"/>
              <a:gd name="T52" fmla="*/ 48 w 79"/>
              <a:gd name="T53" fmla="*/ 151 h 160"/>
              <a:gd name="T54" fmla="*/ 46 w 79"/>
              <a:gd name="T55" fmla="*/ 160 h 160"/>
              <a:gd name="T56" fmla="*/ 40 w 79"/>
              <a:gd name="T57" fmla="*/ 155 h 160"/>
              <a:gd name="T58" fmla="*/ 33 w 79"/>
              <a:gd name="T59" fmla="*/ 150 h 160"/>
              <a:gd name="T60" fmla="*/ 28 w 79"/>
              <a:gd name="T61" fmla="*/ 144 h 160"/>
              <a:gd name="T62" fmla="*/ 22 w 79"/>
              <a:gd name="T63" fmla="*/ 137 h 160"/>
              <a:gd name="T64" fmla="*/ 18 w 79"/>
              <a:gd name="T65" fmla="*/ 130 h 160"/>
              <a:gd name="T66" fmla="*/ 15 w 79"/>
              <a:gd name="T67" fmla="*/ 123 h 160"/>
              <a:gd name="T68" fmla="*/ 11 w 79"/>
              <a:gd name="T69" fmla="*/ 115 h 160"/>
              <a:gd name="T70" fmla="*/ 8 w 79"/>
              <a:gd name="T71" fmla="*/ 108 h 160"/>
              <a:gd name="T72" fmla="*/ 4 w 79"/>
              <a:gd name="T73" fmla="*/ 91 h 160"/>
              <a:gd name="T74" fmla="*/ 1 w 79"/>
              <a:gd name="T75" fmla="*/ 73 h 160"/>
              <a:gd name="T76" fmla="*/ 0 w 79"/>
              <a:gd name="T77" fmla="*/ 55 h 160"/>
              <a:gd name="T78" fmla="*/ 0 w 79"/>
              <a:gd name="T79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70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>
              <a:gd name="T0" fmla="*/ 725 w 7049"/>
              <a:gd name="T1" fmla="*/ 1733 h 2048"/>
              <a:gd name="T2" fmla="*/ 1070 w 7049"/>
              <a:gd name="T3" fmla="*/ 1937 h 2048"/>
              <a:gd name="T4" fmla="*/ 1212 w 7049"/>
              <a:gd name="T5" fmla="*/ 1814 h 2048"/>
              <a:gd name="T6" fmla="*/ 1674 w 7049"/>
              <a:gd name="T7" fmla="*/ 1469 h 2048"/>
              <a:gd name="T8" fmla="*/ 2618 w 7049"/>
              <a:gd name="T9" fmla="*/ 1315 h 2048"/>
              <a:gd name="T10" fmla="*/ 3350 w 7049"/>
              <a:gd name="T11" fmla="*/ 1494 h 2048"/>
              <a:gd name="T12" fmla="*/ 3676 w 7049"/>
              <a:gd name="T13" fmla="*/ 1438 h 2048"/>
              <a:gd name="T14" fmla="*/ 4136 w 7049"/>
              <a:gd name="T15" fmla="*/ 1492 h 2048"/>
              <a:gd name="T16" fmla="*/ 4577 w 7049"/>
              <a:gd name="T17" fmla="*/ 1509 h 2048"/>
              <a:gd name="T18" fmla="*/ 4759 w 7049"/>
              <a:gd name="T19" fmla="*/ 1372 h 2048"/>
              <a:gd name="T20" fmla="*/ 5156 w 7049"/>
              <a:gd name="T21" fmla="*/ 1476 h 2048"/>
              <a:gd name="T22" fmla="*/ 5614 w 7049"/>
              <a:gd name="T23" fmla="*/ 1598 h 2048"/>
              <a:gd name="T24" fmla="*/ 5604 w 7049"/>
              <a:gd name="T25" fmla="*/ 1844 h 2048"/>
              <a:gd name="T26" fmla="*/ 5853 w 7049"/>
              <a:gd name="T27" fmla="*/ 1612 h 2048"/>
              <a:gd name="T28" fmla="*/ 5570 w 7049"/>
              <a:gd name="T29" fmla="*/ 1256 h 2048"/>
              <a:gd name="T30" fmla="*/ 5331 w 7049"/>
              <a:gd name="T31" fmla="*/ 1147 h 2048"/>
              <a:gd name="T32" fmla="*/ 5857 w 7049"/>
              <a:gd name="T33" fmla="*/ 982 h 2048"/>
              <a:gd name="T34" fmla="*/ 5974 w 7049"/>
              <a:gd name="T35" fmla="*/ 822 h 2048"/>
              <a:gd name="T36" fmla="*/ 6132 w 7049"/>
              <a:gd name="T37" fmla="*/ 761 h 2048"/>
              <a:gd name="T38" fmla="*/ 6195 w 7049"/>
              <a:gd name="T39" fmla="*/ 974 h 2048"/>
              <a:gd name="T40" fmla="*/ 6352 w 7049"/>
              <a:gd name="T41" fmla="*/ 1251 h 2048"/>
              <a:gd name="T42" fmla="*/ 6575 w 7049"/>
              <a:gd name="T43" fmla="*/ 1410 h 2048"/>
              <a:gd name="T44" fmla="*/ 6566 w 7049"/>
              <a:gd name="T45" fmla="*/ 1214 h 2048"/>
              <a:gd name="T46" fmla="*/ 6373 w 7049"/>
              <a:gd name="T47" fmla="*/ 1037 h 2048"/>
              <a:gd name="T48" fmla="*/ 6547 w 7049"/>
              <a:gd name="T49" fmla="*/ 885 h 2048"/>
              <a:gd name="T50" fmla="*/ 6801 w 7049"/>
              <a:gd name="T51" fmla="*/ 784 h 2048"/>
              <a:gd name="T52" fmla="*/ 6628 w 7049"/>
              <a:gd name="T53" fmla="*/ 618 h 2048"/>
              <a:gd name="T54" fmla="*/ 6799 w 7049"/>
              <a:gd name="T55" fmla="*/ 636 h 2048"/>
              <a:gd name="T56" fmla="*/ 6861 w 7049"/>
              <a:gd name="T57" fmla="*/ 543 h 2048"/>
              <a:gd name="T58" fmla="*/ 6500 w 7049"/>
              <a:gd name="T59" fmla="*/ 462 h 2048"/>
              <a:gd name="T60" fmla="*/ 5843 w 7049"/>
              <a:gd name="T61" fmla="*/ 410 h 2048"/>
              <a:gd name="T62" fmla="*/ 5693 w 7049"/>
              <a:gd name="T63" fmla="*/ 415 h 2048"/>
              <a:gd name="T64" fmla="*/ 4991 w 7049"/>
              <a:gd name="T65" fmla="*/ 351 h 2048"/>
              <a:gd name="T66" fmla="*/ 4728 w 7049"/>
              <a:gd name="T67" fmla="*/ 290 h 2048"/>
              <a:gd name="T68" fmla="*/ 4412 w 7049"/>
              <a:gd name="T69" fmla="*/ 290 h 2048"/>
              <a:gd name="T70" fmla="*/ 4009 w 7049"/>
              <a:gd name="T71" fmla="*/ 318 h 2048"/>
              <a:gd name="T72" fmla="*/ 3574 w 7049"/>
              <a:gd name="T73" fmla="*/ 261 h 2048"/>
              <a:gd name="T74" fmla="*/ 3290 w 7049"/>
              <a:gd name="T75" fmla="*/ 244 h 2048"/>
              <a:gd name="T76" fmla="*/ 3008 w 7049"/>
              <a:gd name="T77" fmla="*/ 235 h 2048"/>
              <a:gd name="T78" fmla="*/ 2724 w 7049"/>
              <a:gd name="T79" fmla="*/ 58 h 2048"/>
              <a:gd name="T80" fmla="*/ 2617 w 7049"/>
              <a:gd name="T81" fmla="*/ 140 h 2048"/>
              <a:gd name="T82" fmla="*/ 2134 w 7049"/>
              <a:gd name="T83" fmla="*/ 167 h 2048"/>
              <a:gd name="T84" fmla="*/ 2159 w 7049"/>
              <a:gd name="T85" fmla="*/ 200 h 2048"/>
              <a:gd name="T86" fmla="*/ 2198 w 7049"/>
              <a:gd name="T87" fmla="*/ 342 h 2048"/>
              <a:gd name="T88" fmla="*/ 1933 w 7049"/>
              <a:gd name="T89" fmla="*/ 256 h 2048"/>
              <a:gd name="T90" fmla="*/ 1787 w 7049"/>
              <a:gd name="T91" fmla="*/ 273 h 2048"/>
              <a:gd name="T92" fmla="*/ 1917 w 7049"/>
              <a:gd name="T93" fmla="*/ 446 h 2048"/>
              <a:gd name="T94" fmla="*/ 2076 w 7049"/>
              <a:gd name="T95" fmla="*/ 529 h 2048"/>
              <a:gd name="T96" fmla="*/ 1883 w 7049"/>
              <a:gd name="T97" fmla="*/ 593 h 2048"/>
              <a:gd name="T98" fmla="*/ 1832 w 7049"/>
              <a:gd name="T99" fmla="*/ 464 h 2048"/>
              <a:gd name="T100" fmla="*/ 1621 w 7049"/>
              <a:gd name="T101" fmla="*/ 231 h 2048"/>
              <a:gd name="T102" fmla="*/ 1623 w 7049"/>
              <a:gd name="T103" fmla="*/ 451 h 2048"/>
              <a:gd name="T104" fmla="*/ 1238 w 7049"/>
              <a:gd name="T105" fmla="*/ 397 h 2048"/>
              <a:gd name="T106" fmla="*/ 1198 w 7049"/>
              <a:gd name="T107" fmla="*/ 477 h 2048"/>
              <a:gd name="T108" fmla="*/ 908 w 7049"/>
              <a:gd name="T109" fmla="*/ 500 h 2048"/>
              <a:gd name="T110" fmla="*/ 692 w 7049"/>
              <a:gd name="T111" fmla="*/ 483 h 2048"/>
              <a:gd name="T112" fmla="*/ 602 w 7049"/>
              <a:gd name="T113" fmla="*/ 585 h 2048"/>
              <a:gd name="T114" fmla="*/ 407 w 7049"/>
              <a:gd name="T115" fmla="*/ 739 h 2048"/>
              <a:gd name="T116" fmla="*/ 390 w 7049"/>
              <a:gd name="T117" fmla="*/ 612 h 2048"/>
              <a:gd name="T118" fmla="*/ 150 w 7049"/>
              <a:gd name="T119" fmla="*/ 440 h 2048"/>
              <a:gd name="T120" fmla="*/ 71 w 7049"/>
              <a:gd name="T121" fmla="*/ 605 h 2048"/>
              <a:gd name="T122" fmla="*/ 112 w 7049"/>
              <a:gd name="T123" fmla="*/ 958 h 2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71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274888"/>
            <a:ext cx="280987" cy="247650"/>
          </a:xfrm>
          <a:custGeom>
            <a:avLst/>
            <a:gdLst>
              <a:gd name="T0" fmla="*/ 406 w 647"/>
              <a:gd name="T1" fmla="*/ 27 h 470"/>
              <a:gd name="T2" fmla="*/ 428 w 647"/>
              <a:gd name="T3" fmla="*/ 45 h 470"/>
              <a:gd name="T4" fmla="*/ 458 w 647"/>
              <a:gd name="T5" fmla="*/ 60 h 470"/>
              <a:gd name="T6" fmla="*/ 512 w 647"/>
              <a:gd name="T7" fmla="*/ 78 h 470"/>
              <a:gd name="T8" fmla="*/ 538 w 647"/>
              <a:gd name="T9" fmla="*/ 81 h 470"/>
              <a:gd name="T10" fmla="*/ 562 w 647"/>
              <a:gd name="T11" fmla="*/ 99 h 470"/>
              <a:gd name="T12" fmla="*/ 567 w 647"/>
              <a:gd name="T13" fmla="*/ 97 h 470"/>
              <a:gd name="T14" fmla="*/ 575 w 647"/>
              <a:gd name="T15" fmla="*/ 85 h 470"/>
              <a:gd name="T16" fmla="*/ 583 w 647"/>
              <a:gd name="T17" fmla="*/ 78 h 470"/>
              <a:gd name="T18" fmla="*/ 603 w 647"/>
              <a:gd name="T19" fmla="*/ 80 h 470"/>
              <a:gd name="T20" fmla="*/ 624 w 647"/>
              <a:gd name="T21" fmla="*/ 79 h 470"/>
              <a:gd name="T22" fmla="*/ 640 w 647"/>
              <a:gd name="T23" fmla="*/ 84 h 470"/>
              <a:gd name="T24" fmla="*/ 646 w 647"/>
              <a:gd name="T25" fmla="*/ 103 h 470"/>
              <a:gd name="T26" fmla="*/ 646 w 647"/>
              <a:gd name="T27" fmla="*/ 123 h 470"/>
              <a:gd name="T28" fmla="*/ 618 w 647"/>
              <a:gd name="T29" fmla="*/ 131 h 470"/>
              <a:gd name="T30" fmla="*/ 586 w 647"/>
              <a:gd name="T31" fmla="*/ 146 h 470"/>
              <a:gd name="T32" fmla="*/ 560 w 647"/>
              <a:gd name="T33" fmla="*/ 165 h 470"/>
              <a:gd name="T34" fmla="*/ 504 w 647"/>
              <a:gd name="T35" fmla="*/ 214 h 470"/>
              <a:gd name="T36" fmla="*/ 489 w 647"/>
              <a:gd name="T37" fmla="*/ 227 h 470"/>
              <a:gd name="T38" fmla="*/ 474 w 647"/>
              <a:gd name="T39" fmla="*/ 254 h 470"/>
              <a:gd name="T40" fmla="*/ 473 w 647"/>
              <a:gd name="T41" fmla="*/ 282 h 470"/>
              <a:gd name="T42" fmla="*/ 473 w 647"/>
              <a:gd name="T43" fmla="*/ 311 h 470"/>
              <a:gd name="T44" fmla="*/ 463 w 647"/>
              <a:gd name="T45" fmla="*/ 340 h 470"/>
              <a:gd name="T46" fmla="*/ 450 w 647"/>
              <a:gd name="T47" fmla="*/ 354 h 470"/>
              <a:gd name="T48" fmla="*/ 411 w 647"/>
              <a:gd name="T49" fmla="*/ 384 h 470"/>
              <a:gd name="T50" fmla="*/ 383 w 647"/>
              <a:gd name="T51" fmla="*/ 411 h 470"/>
              <a:gd name="T52" fmla="*/ 374 w 647"/>
              <a:gd name="T53" fmla="*/ 425 h 470"/>
              <a:gd name="T54" fmla="*/ 369 w 647"/>
              <a:gd name="T55" fmla="*/ 432 h 470"/>
              <a:gd name="T56" fmla="*/ 310 w 647"/>
              <a:gd name="T57" fmla="*/ 429 h 470"/>
              <a:gd name="T58" fmla="*/ 257 w 647"/>
              <a:gd name="T59" fmla="*/ 434 h 470"/>
              <a:gd name="T60" fmla="*/ 224 w 647"/>
              <a:gd name="T61" fmla="*/ 446 h 470"/>
              <a:gd name="T62" fmla="*/ 193 w 647"/>
              <a:gd name="T63" fmla="*/ 467 h 470"/>
              <a:gd name="T64" fmla="*/ 179 w 647"/>
              <a:gd name="T65" fmla="*/ 469 h 470"/>
              <a:gd name="T66" fmla="*/ 169 w 647"/>
              <a:gd name="T67" fmla="*/ 461 h 470"/>
              <a:gd name="T68" fmla="*/ 153 w 647"/>
              <a:gd name="T69" fmla="*/ 432 h 470"/>
              <a:gd name="T70" fmla="*/ 140 w 647"/>
              <a:gd name="T71" fmla="*/ 414 h 470"/>
              <a:gd name="T72" fmla="*/ 122 w 647"/>
              <a:gd name="T73" fmla="*/ 400 h 470"/>
              <a:gd name="T74" fmla="*/ 114 w 647"/>
              <a:gd name="T75" fmla="*/ 379 h 470"/>
              <a:gd name="T76" fmla="*/ 126 w 647"/>
              <a:gd name="T77" fmla="*/ 336 h 470"/>
              <a:gd name="T78" fmla="*/ 127 w 647"/>
              <a:gd name="T79" fmla="*/ 267 h 470"/>
              <a:gd name="T80" fmla="*/ 147 w 647"/>
              <a:gd name="T81" fmla="*/ 206 h 470"/>
              <a:gd name="T82" fmla="*/ 168 w 647"/>
              <a:gd name="T83" fmla="*/ 149 h 470"/>
              <a:gd name="T84" fmla="*/ 172 w 647"/>
              <a:gd name="T85" fmla="*/ 131 h 470"/>
              <a:gd name="T86" fmla="*/ 116 w 647"/>
              <a:gd name="T87" fmla="*/ 123 h 470"/>
              <a:gd name="T88" fmla="*/ 62 w 647"/>
              <a:gd name="T89" fmla="*/ 109 h 470"/>
              <a:gd name="T90" fmla="*/ 17 w 647"/>
              <a:gd name="T91" fmla="*/ 93 h 470"/>
              <a:gd name="T92" fmla="*/ 0 w 647"/>
              <a:gd name="T93" fmla="*/ 38 h 470"/>
              <a:gd name="T94" fmla="*/ 23 w 647"/>
              <a:gd name="T95" fmla="*/ 34 h 470"/>
              <a:gd name="T96" fmla="*/ 51 w 647"/>
              <a:gd name="T97" fmla="*/ 20 h 470"/>
              <a:gd name="T98" fmla="*/ 73 w 647"/>
              <a:gd name="T99" fmla="*/ 4 h 470"/>
              <a:gd name="T100" fmla="*/ 86 w 647"/>
              <a:gd name="T101" fmla="*/ 0 h 470"/>
              <a:gd name="T102" fmla="*/ 132 w 647"/>
              <a:gd name="T103" fmla="*/ 7 h 470"/>
              <a:gd name="T104" fmla="*/ 171 w 647"/>
              <a:gd name="T105" fmla="*/ 17 h 470"/>
              <a:gd name="T106" fmla="*/ 209 w 647"/>
              <a:gd name="T107" fmla="*/ 20 h 470"/>
              <a:gd name="T108" fmla="*/ 235 w 647"/>
              <a:gd name="T109" fmla="*/ 29 h 470"/>
              <a:gd name="T110" fmla="*/ 258 w 647"/>
              <a:gd name="T111" fmla="*/ 37 h 470"/>
              <a:gd name="T112" fmla="*/ 385 w 647"/>
              <a:gd name="T113" fmla="*/ 26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72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>
              <a:gd name="T0" fmla="*/ 379 w 479"/>
              <a:gd name="T1" fmla="*/ 357 h 868"/>
              <a:gd name="T2" fmla="*/ 333 w 479"/>
              <a:gd name="T3" fmla="*/ 370 h 868"/>
              <a:gd name="T4" fmla="*/ 314 w 479"/>
              <a:gd name="T5" fmla="*/ 390 h 868"/>
              <a:gd name="T6" fmla="*/ 316 w 479"/>
              <a:gd name="T7" fmla="*/ 428 h 868"/>
              <a:gd name="T8" fmla="*/ 352 w 479"/>
              <a:gd name="T9" fmla="*/ 492 h 868"/>
              <a:gd name="T10" fmla="*/ 359 w 479"/>
              <a:gd name="T11" fmla="*/ 530 h 868"/>
              <a:gd name="T12" fmla="*/ 366 w 479"/>
              <a:gd name="T13" fmla="*/ 555 h 868"/>
              <a:gd name="T14" fmla="*/ 323 w 479"/>
              <a:gd name="T15" fmla="*/ 526 h 868"/>
              <a:gd name="T16" fmla="*/ 309 w 479"/>
              <a:gd name="T17" fmla="*/ 492 h 868"/>
              <a:gd name="T18" fmla="*/ 269 w 479"/>
              <a:gd name="T19" fmla="*/ 467 h 868"/>
              <a:gd name="T20" fmla="*/ 210 w 479"/>
              <a:gd name="T21" fmla="*/ 439 h 868"/>
              <a:gd name="T22" fmla="*/ 193 w 479"/>
              <a:gd name="T23" fmla="*/ 406 h 868"/>
              <a:gd name="T24" fmla="*/ 156 w 479"/>
              <a:gd name="T25" fmla="*/ 477 h 868"/>
              <a:gd name="T26" fmla="*/ 156 w 479"/>
              <a:gd name="T27" fmla="*/ 524 h 868"/>
              <a:gd name="T28" fmla="*/ 132 w 479"/>
              <a:gd name="T29" fmla="*/ 575 h 868"/>
              <a:gd name="T30" fmla="*/ 128 w 479"/>
              <a:gd name="T31" fmla="*/ 621 h 868"/>
              <a:gd name="T32" fmla="*/ 154 w 479"/>
              <a:gd name="T33" fmla="*/ 650 h 868"/>
              <a:gd name="T34" fmla="*/ 175 w 479"/>
              <a:gd name="T35" fmla="*/ 685 h 868"/>
              <a:gd name="T36" fmla="*/ 185 w 479"/>
              <a:gd name="T37" fmla="*/ 730 h 868"/>
              <a:gd name="T38" fmla="*/ 226 w 479"/>
              <a:gd name="T39" fmla="*/ 780 h 868"/>
              <a:gd name="T40" fmla="*/ 281 w 479"/>
              <a:gd name="T41" fmla="*/ 825 h 868"/>
              <a:gd name="T42" fmla="*/ 340 w 479"/>
              <a:gd name="T43" fmla="*/ 850 h 868"/>
              <a:gd name="T44" fmla="*/ 298 w 479"/>
              <a:gd name="T45" fmla="*/ 867 h 868"/>
              <a:gd name="T46" fmla="*/ 269 w 479"/>
              <a:gd name="T47" fmla="*/ 864 h 868"/>
              <a:gd name="T48" fmla="*/ 229 w 479"/>
              <a:gd name="T49" fmla="*/ 841 h 868"/>
              <a:gd name="T50" fmla="*/ 200 w 479"/>
              <a:gd name="T51" fmla="*/ 823 h 868"/>
              <a:gd name="T52" fmla="*/ 137 w 479"/>
              <a:gd name="T53" fmla="*/ 759 h 868"/>
              <a:gd name="T54" fmla="*/ 83 w 479"/>
              <a:gd name="T55" fmla="*/ 730 h 868"/>
              <a:gd name="T56" fmla="*/ 74 w 479"/>
              <a:gd name="T57" fmla="*/ 688 h 868"/>
              <a:gd name="T58" fmla="*/ 80 w 479"/>
              <a:gd name="T59" fmla="*/ 653 h 868"/>
              <a:gd name="T60" fmla="*/ 88 w 479"/>
              <a:gd name="T61" fmla="*/ 617 h 868"/>
              <a:gd name="T62" fmla="*/ 120 w 479"/>
              <a:gd name="T63" fmla="*/ 498 h 868"/>
              <a:gd name="T64" fmla="*/ 108 w 479"/>
              <a:gd name="T65" fmla="*/ 404 h 868"/>
              <a:gd name="T66" fmla="*/ 62 w 479"/>
              <a:gd name="T67" fmla="*/ 319 h 868"/>
              <a:gd name="T68" fmla="*/ 64 w 479"/>
              <a:gd name="T69" fmla="*/ 285 h 868"/>
              <a:gd name="T70" fmla="*/ 74 w 479"/>
              <a:gd name="T71" fmla="*/ 265 h 868"/>
              <a:gd name="T72" fmla="*/ 56 w 479"/>
              <a:gd name="T73" fmla="*/ 202 h 868"/>
              <a:gd name="T74" fmla="*/ 23 w 479"/>
              <a:gd name="T75" fmla="*/ 158 h 868"/>
              <a:gd name="T76" fmla="*/ 1 w 479"/>
              <a:gd name="T77" fmla="*/ 102 h 868"/>
              <a:gd name="T78" fmla="*/ 11 w 479"/>
              <a:gd name="T79" fmla="*/ 44 h 868"/>
              <a:gd name="T80" fmla="*/ 49 w 479"/>
              <a:gd name="T81" fmla="*/ 16 h 868"/>
              <a:gd name="T82" fmla="*/ 120 w 479"/>
              <a:gd name="T83" fmla="*/ 0 h 868"/>
              <a:gd name="T84" fmla="*/ 156 w 479"/>
              <a:gd name="T85" fmla="*/ 28 h 868"/>
              <a:gd name="T86" fmla="*/ 179 w 479"/>
              <a:gd name="T87" fmla="*/ 36 h 868"/>
              <a:gd name="T88" fmla="*/ 197 w 479"/>
              <a:gd name="T89" fmla="*/ 136 h 868"/>
              <a:gd name="T90" fmla="*/ 213 w 479"/>
              <a:gd name="T91" fmla="*/ 166 h 868"/>
              <a:gd name="T92" fmla="*/ 231 w 479"/>
              <a:gd name="T93" fmla="*/ 155 h 868"/>
              <a:gd name="T94" fmla="*/ 258 w 479"/>
              <a:gd name="T95" fmla="*/ 126 h 868"/>
              <a:gd name="T96" fmla="*/ 281 w 479"/>
              <a:gd name="T97" fmla="*/ 141 h 868"/>
              <a:gd name="T98" fmla="*/ 298 w 479"/>
              <a:gd name="T99" fmla="*/ 136 h 868"/>
              <a:gd name="T100" fmla="*/ 316 w 479"/>
              <a:gd name="T101" fmla="*/ 108 h 868"/>
              <a:gd name="T102" fmla="*/ 346 w 479"/>
              <a:gd name="T103" fmla="*/ 108 h 868"/>
              <a:gd name="T104" fmla="*/ 387 w 479"/>
              <a:gd name="T105" fmla="*/ 157 h 868"/>
              <a:gd name="T106" fmla="*/ 454 w 479"/>
              <a:gd name="T107" fmla="*/ 246 h 868"/>
              <a:gd name="T108" fmla="*/ 478 w 479"/>
              <a:gd name="T109" fmla="*/ 307 h 868"/>
              <a:gd name="T110" fmla="*/ 468 w 479"/>
              <a:gd name="T111" fmla="*/ 338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73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74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75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>
              <a:gd name="T0" fmla="*/ 0 w 6"/>
              <a:gd name="T1" fmla="*/ 24 h 24"/>
              <a:gd name="T2" fmla="*/ 0 w 6"/>
              <a:gd name="T3" fmla="*/ 19 h 24"/>
              <a:gd name="T4" fmla="*/ 1 w 6"/>
              <a:gd name="T5" fmla="*/ 14 h 24"/>
              <a:gd name="T6" fmla="*/ 3 w 6"/>
              <a:gd name="T7" fmla="*/ 8 h 24"/>
              <a:gd name="T8" fmla="*/ 6 w 6"/>
              <a:gd name="T9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76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>
              <a:gd name="T0" fmla="*/ 0 w 47"/>
              <a:gd name="T1" fmla="*/ 24 h 67"/>
              <a:gd name="T2" fmla="*/ 0 w 47"/>
              <a:gd name="T3" fmla="*/ 30 h 67"/>
              <a:gd name="T4" fmla="*/ 2 w 47"/>
              <a:gd name="T5" fmla="*/ 36 h 67"/>
              <a:gd name="T6" fmla="*/ 3 w 47"/>
              <a:gd name="T7" fmla="*/ 42 h 67"/>
              <a:gd name="T8" fmla="*/ 5 w 47"/>
              <a:gd name="T9" fmla="*/ 47 h 67"/>
              <a:gd name="T10" fmla="*/ 9 w 47"/>
              <a:gd name="T11" fmla="*/ 58 h 67"/>
              <a:gd name="T12" fmla="*/ 14 w 47"/>
              <a:gd name="T13" fmla="*/ 67 h 67"/>
              <a:gd name="T14" fmla="*/ 47 w 47"/>
              <a:gd name="T15" fmla="*/ 67 h 67"/>
              <a:gd name="T16" fmla="*/ 47 w 47"/>
              <a:gd name="T17" fmla="*/ 0 h 67"/>
              <a:gd name="T18" fmla="*/ 36 w 47"/>
              <a:gd name="T19" fmla="*/ 2 h 67"/>
              <a:gd name="T20" fmla="*/ 26 w 47"/>
              <a:gd name="T21" fmla="*/ 4 h 67"/>
              <a:gd name="T22" fmla="*/ 18 w 47"/>
              <a:gd name="T23" fmla="*/ 7 h 67"/>
              <a:gd name="T24" fmla="*/ 11 w 47"/>
              <a:gd name="T25" fmla="*/ 9 h 67"/>
              <a:gd name="T26" fmla="*/ 6 w 47"/>
              <a:gd name="T27" fmla="*/ 12 h 67"/>
              <a:gd name="T28" fmla="*/ 3 w 47"/>
              <a:gd name="T29" fmla="*/ 16 h 67"/>
              <a:gd name="T30" fmla="*/ 0 w 47"/>
              <a:gd name="T31" fmla="*/ 20 h 67"/>
              <a:gd name="T32" fmla="*/ 0 w 47"/>
              <a:gd name="T33" fmla="*/ 2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77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>
              <a:gd name="T0" fmla="*/ 0 w 112"/>
              <a:gd name="T1" fmla="*/ 36 h 36"/>
              <a:gd name="T2" fmla="*/ 59 w 112"/>
              <a:gd name="T3" fmla="*/ 36 h 36"/>
              <a:gd name="T4" fmla="*/ 67 w 112"/>
              <a:gd name="T5" fmla="*/ 30 h 36"/>
              <a:gd name="T6" fmla="*/ 75 w 112"/>
              <a:gd name="T7" fmla="*/ 26 h 36"/>
              <a:gd name="T8" fmla="*/ 84 w 112"/>
              <a:gd name="T9" fmla="*/ 23 h 36"/>
              <a:gd name="T10" fmla="*/ 91 w 112"/>
              <a:gd name="T11" fmla="*/ 20 h 36"/>
              <a:gd name="T12" fmla="*/ 98 w 112"/>
              <a:gd name="T13" fmla="*/ 17 h 36"/>
              <a:gd name="T14" fmla="*/ 104 w 112"/>
              <a:gd name="T15" fmla="*/ 13 h 36"/>
              <a:gd name="T16" fmla="*/ 107 w 112"/>
              <a:gd name="T17" fmla="*/ 11 h 36"/>
              <a:gd name="T18" fmla="*/ 109 w 112"/>
              <a:gd name="T19" fmla="*/ 8 h 36"/>
              <a:gd name="T20" fmla="*/ 111 w 112"/>
              <a:gd name="T21" fmla="*/ 4 h 36"/>
              <a:gd name="T22" fmla="*/ 112 w 112"/>
              <a:gd name="T23" fmla="*/ 0 h 36"/>
              <a:gd name="T24" fmla="*/ 100 w 112"/>
              <a:gd name="T25" fmla="*/ 0 h 36"/>
              <a:gd name="T26" fmla="*/ 85 w 112"/>
              <a:gd name="T27" fmla="*/ 1 h 36"/>
              <a:gd name="T28" fmla="*/ 67 w 112"/>
              <a:gd name="T29" fmla="*/ 3 h 36"/>
              <a:gd name="T30" fmla="*/ 48 w 112"/>
              <a:gd name="T31" fmla="*/ 7 h 36"/>
              <a:gd name="T32" fmla="*/ 40 w 112"/>
              <a:gd name="T33" fmla="*/ 9 h 36"/>
              <a:gd name="T34" fmla="*/ 31 w 112"/>
              <a:gd name="T35" fmla="*/ 11 h 36"/>
              <a:gd name="T36" fmla="*/ 23 w 112"/>
              <a:gd name="T37" fmla="*/ 14 h 36"/>
              <a:gd name="T38" fmla="*/ 17 w 112"/>
              <a:gd name="T39" fmla="*/ 18 h 36"/>
              <a:gd name="T40" fmla="*/ 10 w 112"/>
              <a:gd name="T41" fmla="*/ 22 h 36"/>
              <a:gd name="T42" fmla="*/ 6 w 112"/>
              <a:gd name="T43" fmla="*/ 26 h 36"/>
              <a:gd name="T44" fmla="*/ 1 w 112"/>
              <a:gd name="T45" fmla="*/ 31 h 36"/>
              <a:gd name="T46" fmla="*/ 0 w 112"/>
              <a:gd name="T4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78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>
              <a:gd name="T0" fmla="*/ 433 w 2006"/>
              <a:gd name="T1" fmla="*/ 765 h 863"/>
              <a:gd name="T2" fmla="*/ 412 w 2006"/>
              <a:gd name="T3" fmla="*/ 764 h 863"/>
              <a:gd name="T4" fmla="*/ 390 w 2006"/>
              <a:gd name="T5" fmla="*/ 794 h 863"/>
              <a:gd name="T6" fmla="*/ 375 w 2006"/>
              <a:gd name="T7" fmla="*/ 792 h 863"/>
              <a:gd name="T8" fmla="*/ 370 w 2006"/>
              <a:gd name="T9" fmla="*/ 751 h 863"/>
              <a:gd name="T10" fmla="*/ 324 w 2006"/>
              <a:gd name="T11" fmla="*/ 724 h 863"/>
              <a:gd name="T12" fmla="*/ 312 w 2006"/>
              <a:gd name="T13" fmla="*/ 708 h 863"/>
              <a:gd name="T14" fmla="*/ 288 w 2006"/>
              <a:gd name="T15" fmla="*/ 692 h 863"/>
              <a:gd name="T16" fmla="*/ 251 w 2006"/>
              <a:gd name="T17" fmla="*/ 641 h 863"/>
              <a:gd name="T18" fmla="*/ 232 w 2006"/>
              <a:gd name="T19" fmla="*/ 610 h 863"/>
              <a:gd name="T20" fmla="*/ 253 w 2006"/>
              <a:gd name="T21" fmla="*/ 594 h 863"/>
              <a:gd name="T22" fmla="*/ 279 w 2006"/>
              <a:gd name="T23" fmla="*/ 573 h 863"/>
              <a:gd name="T24" fmla="*/ 338 w 2006"/>
              <a:gd name="T25" fmla="*/ 544 h 863"/>
              <a:gd name="T26" fmla="*/ 319 w 2006"/>
              <a:gd name="T27" fmla="*/ 487 h 863"/>
              <a:gd name="T28" fmla="*/ 258 w 2006"/>
              <a:gd name="T29" fmla="*/ 475 h 863"/>
              <a:gd name="T30" fmla="*/ 209 w 2006"/>
              <a:gd name="T31" fmla="*/ 470 h 863"/>
              <a:gd name="T32" fmla="*/ 157 w 2006"/>
              <a:gd name="T33" fmla="*/ 495 h 863"/>
              <a:gd name="T34" fmla="*/ 106 w 2006"/>
              <a:gd name="T35" fmla="*/ 505 h 863"/>
              <a:gd name="T36" fmla="*/ 27 w 2006"/>
              <a:gd name="T37" fmla="*/ 413 h 863"/>
              <a:gd name="T38" fmla="*/ 20 w 2006"/>
              <a:gd name="T39" fmla="*/ 283 h 863"/>
              <a:gd name="T40" fmla="*/ 113 w 2006"/>
              <a:gd name="T41" fmla="*/ 259 h 863"/>
              <a:gd name="T42" fmla="*/ 292 w 2006"/>
              <a:gd name="T43" fmla="*/ 222 h 863"/>
              <a:gd name="T44" fmla="*/ 498 w 2006"/>
              <a:gd name="T45" fmla="*/ 253 h 863"/>
              <a:gd name="T46" fmla="*/ 717 w 2006"/>
              <a:gd name="T47" fmla="*/ 253 h 863"/>
              <a:gd name="T48" fmla="*/ 658 w 2006"/>
              <a:gd name="T49" fmla="*/ 185 h 863"/>
              <a:gd name="T50" fmla="*/ 830 w 2006"/>
              <a:gd name="T51" fmla="*/ 68 h 863"/>
              <a:gd name="T52" fmla="*/ 1050 w 2006"/>
              <a:gd name="T53" fmla="*/ 13 h 863"/>
              <a:gd name="T54" fmla="*/ 1176 w 2006"/>
              <a:gd name="T55" fmla="*/ 61 h 863"/>
              <a:gd name="T56" fmla="*/ 1296 w 2006"/>
              <a:gd name="T57" fmla="*/ 111 h 863"/>
              <a:gd name="T58" fmla="*/ 1442 w 2006"/>
              <a:gd name="T59" fmla="*/ 99 h 863"/>
              <a:gd name="T60" fmla="*/ 1647 w 2006"/>
              <a:gd name="T61" fmla="*/ 271 h 863"/>
              <a:gd name="T62" fmla="*/ 1793 w 2006"/>
              <a:gd name="T63" fmla="*/ 265 h 863"/>
              <a:gd name="T64" fmla="*/ 2000 w 2006"/>
              <a:gd name="T65" fmla="*/ 339 h 863"/>
              <a:gd name="T66" fmla="*/ 2002 w 2006"/>
              <a:gd name="T67" fmla="*/ 381 h 863"/>
              <a:gd name="T68" fmla="*/ 1981 w 2006"/>
              <a:gd name="T69" fmla="*/ 399 h 863"/>
              <a:gd name="T70" fmla="*/ 1960 w 2006"/>
              <a:gd name="T71" fmla="*/ 404 h 863"/>
              <a:gd name="T72" fmla="*/ 1963 w 2006"/>
              <a:gd name="T73" fmla="*/ 425 h 863"/>
              <a:gd name="T74" fmla="*/ 1985 w 2006"/>
              <a:gd name="T75" fmla="*/ 466 h 863"/>
              <a:gd name="T76" fmla="*/ 1979 w 2006"/>
              <a:gd name="T77" fmla="*/ 478 h 863"/>
              <a:gd name="T78" fmla="*/ 1939 w 2006"/>
              <a:gd name="T79" fmla="*/ 481 h 863"/>
              <a:gd name="T80" fmla="*/ 1893 w 2006"/>
              <a:gd name="T81" fmla="*/ 474 h 863"/>
              <a:gd name="T82" fmla="*/ 1864 w 2006"/>
              <a:gd name="T83" fmla="*/ 474 h 863"/>
              <a:gd name="T84" fmla="*/ 1878 w 2006"/>
              <a:gd name="T85" fmla="*/ 548 h 863"/>
              <a:gd name="T86" fmla="*/ 1880 w 2006"/>
              <a:gd name="T87" fmla="*/ 586 h 863"/>
              <a:gd name="T88" fmla="*/ 1789 w 2006"/>
              <a:gd name="T89" fmla="*/ 588 h 863"/>
              <a:gd name="T90" fmla="*/ 1768 w 2006"/>
              <a:gd name="T91" fmla="*/ 604 h 863"/>
              <a:gd name="T92" fmla="*/ 1795 w 2006"/>
              <a:gd name="T93" fmla="*/ 619 h 863"/>
              <a:gd name="T94" fmla="*/ 1814 w 2006"/>
              <a:gd name="T95" fmla="*/ 650 h 863"/>
              <a:gd name="T96" fmla="*/ 1834 w 2006"/>
              <a:gd name="T97" fmla="*/ 689 h 863"/>
              <a:gd name="T98" fmla="*/ 1837 w 2006"/>
              <a:gd name="T99" fmla="*/ 706 h 863"/>
              <a:gd name="T100" fmla="*/ 1837 w 2006"/>
              <a:gd name="T101" fmla="*/ 754 h 863"/>
              <a:gd name="T102" fmla="*/ 1741 w 2006"/>
              <a:gd name="T103" fmla="*/ 740 h 863"/>
              <a:gd name="T104" fmla="*/ 1475 w 2006"/>
              <a:gd name="T105" fmla="*/ 764 h 863"/>
              <a:gd name="T106" fmla="*/ 1316 w 2006"/>
              <a:gd name="T107" fmla="*/ 795 h 863"/>
              <a:gd name="T108" fmla="*/ 1142 w 2006"/>
              <a:gd name="T109" fmla="*/ 838 h 863"/>
              <a:gd name="T110" fmla="*/ 963 w 2006"/>
              <a:gd name="T111" fmla="*/ 697 h 863"/>
              <a:gd name="T112" fmla="*/ 684 w 2006"/>
              <a:gd name="T113" fmla="*/ 586 h 863"/>
              <a:gd name="T114" fmla="*/ 584 w 2006"/>
              <a:gd name="T115" fmla="*/ 832 h 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79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>
              <a:gd name="T0" fmla="*/ 638 w 950"/>
              <a:gd name="T1" fmla="*/ 443 h 468"/>
              <a:gd name="T2" fmla="*/ 558 w 950"/>
              <a:gd name="T3" fmla="*/ 418 h 468"/>
              <a:gd name="T4" fmla="*/ 471 w 950"/>
              <a:gd name="T5" fmla="*/ 376 h 468"/>
              <a:gd name="T6" fmla="*/ 392 w 950"/>
              <a:gd name="T7" fmla="*/ 307 h 468"/>
              <a:gd name="T8" fmla="*/ 305 w 950"/>
              <a:gd name="T9" fmla="*/ 258 h 468"/>
              <a:gd name="T10" fmla="*/ 253 w 950"/>
              <a:gd name="T11" fmla="*/ 209 h 468"/>
              <a:gd name="T12" fmla="*/ 186 w 950"/>
              <a:gd name="T13" fmla="*/ 172 h 468"/>
              <a:gd name="T14" fmla="*/ 133 w 950"/>
              <a:gd name="T15" fmla="*/ 190 h 468"/>
              <a:gd name="T16" fmla="*/ 99 w 950"/>
              <a:gd name="T17" fmla="*/ 240 h 468"/>
              <a:gd name="T18" fmla="*/ 40 w 950"/>
              <a:gd name="T19" fmla="*/ 246 h 468"/>
              <a:gd name="T20" fmla="*/ 0 w 950"/>
              <a:gd name="T21" fmla="*/ 24 h 468"/>
              <a:gd name="T22" fmla="*/ 79 w 950"/>
              <a:gd name="T23" fmla="*/ 6 h 468"/>
              <a:gd name="T24" fmla="*/ 133 w 950"/>
              <a:gd name="T25" fmla="*/ 55 h 468"/>
              <a:gd name="T26" fmla="*/ 157 w 950"/>
              <a:gd name="T27" fmla="*/ 15 h 468"/>
              <a:gd name="T28" fmla="*/ 332 w 950"/>
              <a:gd name="T29" fmla="*/ 117 h 468"/>
              <a:gd name="T30" fmla="*/ 438 w 950"/>
              <a:gd name="T31" fmla="*/ 117 h 468"/>
              <a:gd name="T32" fmla="*/ 525 w 950"/>
              <a:gd name="T33" fmla="*/ 135 h 468"/>
              <a:gd name="T34" fmla="*/ 597 w 950"/>
              <a:gd name="T35" fmla="*/ 228 h 468"/>
              <a:gd name="T36" fmla="*/ 671 w 950"/>
              <a:gd name="T37" fmla="*/ 252 h 468"/>
              <a:gd name="T38" fmla="*/ 730 w 950"/>
              <a:gd name="T39" fmla="*/ 258 h 468"/>
              <a:gd name="T40" fmla="*/ 791 w 950"/>
              <a:gd name="T41" fmla="*/ 215 h 468"/>
              <a:gd name="T42" fmla="*/ 843 w 950"/>
              <a:gd name="T43" fmla="*/ 196 h 468"/>
              <a:gd name="T44" fmla="*/ 824 w 950"/>
              <a:gd name="T45" fmla="*/ 252 h 468"/>
              <a:gd name="T46" fmla="*/ 870 w 950"/>
              <a:gd name="T47" fmla="*/ 240 h 468"/>
              <a:gd name="T48" fmla="*/ 950 w 950"/>
              <a:gd name="T49" fmla="*/ 283 h 468"/>
              <a:gd name="T50" fmla="*/ 883 w 950"/>
              <a:gd name="T51" fmla="*/ 320 h 468"/>
              <a:gd name="T52" fmla="*/ 824 w 950"/>
              <a:gd name="T53" fmla="*/ 283 h 468"/>
              <a:gd name="T54" fmla="*/ 764 w 950"/>
              <a:gd name="T55" fmla="*/ 277 h 468"/>
              <a:gd name="T56" fmla="*/ 737 w 950"/>
              <a:gd name="T57" fmla="*/ 320 h 468"/>
              <a:gd name="T58" fmla="*/ 684 w 950"/>
              <a:gd name="T59" fmla="*/ 357 h 468"/>
              <a:gd name="T60" fmla="*/ 710 w 950"/>
              <a:gd name="T61" fmla="*/ 388 h 468"/>
              <a:gd name="T62" fmla="*/ 743 w 950"/>
              <a:gd name="T63" fmla="*/ 437 h 468"/>
              <a:gd name="T64" fmla="*/ 717 w 950"/>
              <a:gd name="T65" fmla="*/ 468 h 468"/>
              <a:gd name="T66" fmla="*/ 703 w 950"/>
              <a:gd name="T67" fmla="*/ 465 h 468"/>
              <a:gd name="T68" fmla="*/ 684 w 950"/>
              <a:gd name="T69" fmla="*/ 461 h 468"/>
              <a:gd name="T70" fmla="*/ 658 w 950"/>
              <a:gd name="T71" fmla="*/ 461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80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>
              <a:gd name="T0" fmla="*/ 6 w 671"/>
              <a:gd name="T1" fmla="*/ 383 h 549"/>
              <a:gd name="T2" fmla="*/ 8 w 671"/>
              <a:gd name="T3" fmla="*/ 316 h 549"/>
              <a:gd name="T4" fmla="*/ 17 w 671"/>
              <a:gd name="T5" fmla="*/ 287 h 549"/>
              <a:gd name="T6" fmla="*/ 52 w 671"/>
              <a:gd name="T7" fmla="*/ 238 h 549"/>
              <a:gd name="T8" fmla="*/ 71 w 671"/>
              <a:gd name="T9" fmla="*/ 205 h 549"/>
              <a:gd name="T10" fmla="*/ 73 w 671"/>
              <a:gd name="T11" fmla="*/ 167 h 549"/>
              <a:gd name="T12" fmla="*/ 73 w 671"/>
              <a:gd name="T13" fmla="*/ 137 h 549"/>
              <a:gd name="T14" fmla="*/ 54 w 671"/>
              <a:gd name="T15" fmla="*/ 108 h 549"/>
              <a:gd name="T16" fmla="*/ 61 w 671"/>
              <a:gd name="T17" fmla="*/ 79 h 549"/>
              <a:gd name="T18" fmla="*/ 76 w 671"/>
              <a:gd name="T19" fmla="*/ 50 h 549"/>
              <a:gd name="T20" fmla="*/ 96 w 671"/>
              <a:gd name="T21" fmla="*/ 25 h 549"/>
              <a:gd name="T22" fmla="*/ 120 w 671"/>
              <a:gd name="T23" fmla="*/ 7 h 549"/>
              <a:gd name="T24" fmla="*/ 146 w 671"/>
              <a:gd name="T25" fmla="*/ 0 h 549"/>
              <a:gd name="T26" fmla="*/ 173 w 671"/>
              <a:gd name="T27" fmla="*/ 5 h 549"/>
              <a:gd name="T28" fmla="*/ 206 w 671"/>
              <a:gd name="T29" fmla="*/ 26 h 549"/>
              <a:gd name="T30" fmla="*/ 236 w 671"/>
              <a:gd name="T31" fmla="*/ 45 h 549"/>
              <a:gd name="T32" fmla="*/ 259 w 671"/>
              <a:gd name="T33" fmla="*/ 50 h 549"/>
              <a:gd name="T34" fmla="*/ 272 w 671"/>
              <a:gd name="T35" fmla="*/ 44 h 549"/>
              <a:gd name="T36" fmla="*/ 284 w 671"/>
              <a:gd name="T37" fmla="*/ 35 h 549"/>
              <a:gd name="T38" fmla="*/ 300 w 671"/>
              <a:gd name="T39" fmla="*/ 32 h 549"/>
              <a:gd name="T40" fmla="*/ 318 w 671"/>
              <a:gd name="T41" fmla="*/ 39 h 549"/>
              <a:gd name="T42" fmla="*/ 337 w 671"/>
              <a:gd name="T43" fmla="*/ 65 h 549"/>
              <a:gd name="T44" fmla="*/ 353 w 671"/>
              <a:gd name="T45" fmla="*/ 79 h 549"/>
              <a:gd name="T46" fmla="*/ 370 w 671"/>
              <a:gd name="T47" fmla="*/ 81 h 549"/>
              <a:gd name="T48" fmla="*/ 381 w 671"/>
              <a:gd name="T49" fmla="*/ 75 h 549"/>
              <a:gd name="T50" fmla="*/ 397 w 671"/>
              <a:gd name="T51" fmla="*/ 56 h 549"/>
              <a:gd name="T52" fmla="*/ 419 w 671"/>
              <a:gd name="T53" fmla="*/ 38 h 549"/>
              <a:gd name="T54" fmla="*/ 458 w 671"/>
              <a:gd name="T55" fmla="*/ 22 h 549"/>
              <a:gd name="T56" fmla="*/ 487 w 671"/>
              <a:gd name="T57" fmla="*/ 25 h 549"/>
              <a:gd name="T58" fmla="*/ 511 w 671"/>
              <a:gd name="T59" fmla="*/ 35 h 549"/>
              <a:gd name="T60" fmla="*/ 537 w 671"/>
              <a:gd name="T61" fmla="*/ 43 h 549"/>
              <a:gd name="T62" fmla="*/ 571 w 671"/>
              <a:gd name="T63" fmla="*/ 39 h 549"/>
              <a:gd name="T64" fmla="*/ 646 w 671"/>
              <a:gd name="T65" fmla="*/ 67 h 549"/>
              <a:gd name="T66" fmla="*/ 665 w 671"/>
              <a:gd name="T67" fmla="*/ 105 h 549"/>
              <a:gd name="T68" fmla="*/ 623 w 671"/>
              <a:gd name="T69" fmla="*/ 183 h 549"/>
              <a:gd name="T70" fmla="*/ 593 w 671"/>
              <a:gd name="T71" fmla="*/ 233 h 549"/>
              <a:gd name="T72" fmla="*/ 570 w 671"/>
              <a:gd name="T73" fmla="*/ 291 h 549"/>
              <a:gd name="T74" fmla="*/ 550 w 671"/>
              <a:gd name="T75" fmla="*/ 343 h 549"/>
              <a:gd name="T76" fmla="*/ 525 w 671"/>
              <a:gd name="T77" fmla="*/ 407 h 549"/>
              <a:gd name="T78" fmla="*/ 516 w 671"/>
              <a:gd name="T79" fmla="*/ 422 h 549"/>
              <a:gd name="T80" fmla="*/ 500 w 671"/>
              <a:gd name="T81" fmla="*/ 439 h 549"/>
              <a:gd name="T82" fmla="*/ 482 w 671"/>
              <a:gd name="T83" fmla="*/ 443 h 549"/>
              <a:gd name="T84" fmla="*/ 459 w 671"/>
              <a:gd name="T85" fmla="*/ 432 h 549"/>
              <a:gd name="T86" fmla="*/ 440 w 671"/>
              <a:gd name="T87" fmla="*/ 421 h 549"/>
              <a:gd name="T88" fmla="*/ 408 w 671"/>
              <a:gd name="T89" fmla="*/ 424 h 549"/>
              <a:gd name="T90" fmla="*/ 381 w 671"/>
              <a:gd name="T91" fmla="*/ 441 h 549"/>
              <a:gd name="T92" fmla="*/ 364 w 671"/>
              <a:gd name="T93" fmla="*/ 469 h 549"/>
              <a:gd name="T94" fmla="*/ 342 w 671"/>
              <a:gd name="T95" fmla="*/ 521 h 549"/>
              <a:gd name="T96" fmla="*/ 325 w 671"/>
              <a:gd name="T97" fmla="*/ 549 h 549"/>
              <a:gd name="T98" fmla="*/ 229 w 671"/>
              <a:gd name="T99" fmla="*/ 546 h 549"/>
              <a:gd name="T100" fmla="*/ 217 w 671"/>
              <a:gd name="T101" fmla="*/ 548 h 549"/>
              <a:gd name="T102" fmla="*/ 179 w 671"/>
              <a:gd name="T103" fmla="*/ 543 h 549"/>
              <a:gd name="T104" fmla="*/ 161 w 671"/>
              <a:gd name="T105" fmla="*/ 540 h 549"/>
              <a:gd name="T106" fmla="*/ 144 w 671"/>
              <a:gd name="T107" fmla="*/ 531 h 549"/>
              <a:gd name="T108" fmla="*/ 129 w 671"/>
              <a:gd name="T109" fmla="*/ 515 h 549"/>
              <a:gd name="T110" fmla="*/ 119 w 671"/>
              <a:gd name="T111" fmla="*/ 496 h 549"/>
              <a:gd name="T112" fmla="*/ 113 w 671"/>
              <a:gd name="T113" fmla="*/ 472 h 549"/>
              <a:gd name="T114" fmla="*/ 100 w 671"/>
              <a:gd name="T115" fmla="*/ 460 h 549"/>
              <a:gd name="T116" fmla="*/ 83 w 671"/>
              <a:gd name="T117" fmla="*/ 447 h 549"/>
              <a:gd name="T118" fmla="*/ 63 w 671"/>
              <a:gd name="T119" fmla="*/ 432 h 549"/>
              <a:gd name="T120" fmla="*/ 39 w 671"/>
              <a:gd name="T121" fmla="*/ 429 h 549"/>
              <a:gd name="T122" fmla="*/ 0 w 671"/>
              <a:gd name="T123" fmla="*/ 43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81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>
              <a:gd name="T0" fmla="*/ 326 w 358"/>
              <a:gd name="T1" fmla="*/ 324 h 327"/>
              <a:gd name="T2" fmla="*/ 331 w 358"/>
              <a:gd name="T3" fmla="*/ 321 h 327"/>
              <a:gd name="T4" fmla="*/ 337 w 358"/>
              <a:gd name="T5" fmla="*/ 318 h 327"/>
              <a:gd name="T6" fmla="*/ 346 w 358"/>
              <a:gd name="T7" fmla="*/ 318 h 327"/>
              <a:gd name="T8" fmla="*/ 356 w 358"/>
              <a:gd name="T9" fmla="*/ 324 h 327"/>
              <a:gd name="T10" fmla="*/ 319 w 358"/>
              <a:gd name="T11" fmla="*/ 285 h 327"/>
              <a:gd name="T12" fmla="*/ 278 w 358"/>
              <a:gd name="T13" fmla="*/ 235 h 327"/>
              <a:gd name="T14" fmla="*/ 253 w 358"/>
              <a:gd name="T15" fmla="*/ 204 h 327"/>
              <a:gd name="T16" fmla="*/ 232 w 358"/>
              <a:gd name="T17" fmla="*/ 186 h 327"/>
              <a:gd name="T18" fmla="*/ 219 w 358"/>
              <a:gd name="T19" fmla="*/ 181 h 327"/>
              <a:gd name="T20" fmla="*/ 208 w 358"/>
              <a:gd name="T21" fmla="*/ 180 h 327"/>
              <a:gd name="T22" fmla="*/ 201 w 358"/>
              <a:gd name="T23" fmla="*/ 179 h 327"/>
              <a:gd name="T24" fmla="*/ 199 w 358"/>
              <a:gd name="T25" fmla="*/ 174 h 327"/>
              <a:gd name="T26" fmla="*/ 198 w 358"/>
              <a:gd name="T27" fmla="*/ 170 h 327"/>
              <a:gd name="T28" fmla="*/ 195 w 358"/>
              <a:gd name="T29" fmla="*/ 169 h 327"/>
              <a:gd name="T30" fmla="*/ 184 w 358"/>
              <a:gd name="T31" fmla="*/ 172 h 327"/>
              <a:gd name="T32" fmla="*/ 171 w 358"/>
              <a:gd name="T33" fmla="*/ 172 h 327"/>
              <a:gd name="T34" fmla="*/ 165 w 358"/>
              <a:gd name="T35" fmla="*/ 168 h 327"/>
              <a:gd name="T36" fmla="*/ 160 w 358"/>
              <a:gd name="T37" fmla="*/ 161 h 327"/>
              <a:gd name="T38" fmla="*/ 152 w 358"/>
              <a:gd name="T39" fmla="*/ 144 h 327"/>
              <a:gd name="T40" fmla="*/ 143 w 358"/>
              <a:gd name="T41" fmla="*/ 131 h 327"/>
              <a:gd name="T42" fmla="*/ 133 w 358"/>
              <a:gd name="T43" fmla="*/ 119 h 327"/>
              <a:gd name="T44" fmla="*/ 127 w 358"/>
              <a:gd name="T45" fmla="*/ 105 h 327"/>
              <a:gd name="T46" fmla="*/ 122 w 358"/>
              <a:gd name="T47" fmla="*/ 84 h 327"/>
              <a:gd name="T48" fmla="*/ 119 w 358"/>
              <a:gd name="T49" fmla="*/ 53 h 327"/>
              <a:gd name="T50" fmla="*/ 117 w 358"/>
              <a:gd name="T51" fmla="*/ 23 h 327"/>
              <a:gd name="T52" fmla="*/ 112 w 358"/>
              <a:gd name="T53" fmla="*/ 0 h 327"/>
              <a:gd name="T54" fmla="*/ 73 w 358"/>
              <a:gd name="T55" fmla="*/ 26 h 327"/>
              <a:gd name="T56" fmla="*/ 61 w 358"/>
              <a:gd name="T57" fmla="*/ 33 h 327"/>
              <a:gd name="T58" fmla="*/ 33 w 358"/>
              <a:gd name="T59" fmla="*/ 50 h 327"/>
              <a:gd name="T60" fmla="*/ 21 w 358"/>
              <a:gd name="T61" fmla="*/ 61 h 327"/>
              <a:gd name="T62" fmla="*/ 17 w 358"/>
              <a:gd name="T63" fmla="*/ 72 h 327"/>
              <a:gd name="T64" fmla="*/ 16 w 358"/>
              <a:gd name="T65" fmla="*/ 83 h 327"/>
              <a:gd name="T66" fmla="*/ 20 w 358"/>
              <a:gd name="T67" fmla="*/ 93 h 327"/>
              <a:gd name="T68" fmla="*/ 22 w 358"/>
              <a:gd name="T69" fmla="*/ 100 h 327"/>
              <a:gd name="T70" fmla="*/ 20 w 358"/>
              <a:gd name="T71" fmla="*/ 110 h 327"/>
              <a:gd name="T72" fmla="*/ 15 w 358"/>
              <a:gd name="T73" fmla="*/ 123 h 327"/>
              <a:gd name="T74" fmla="*/ 7 w 358"/>
              <a:gd name="T75" fmla="*/ 136 h 327"/>
              <a:gd name="T76" fmla="*/ 0 w 358"/>
              <a:gd name="T77" fmla="*/ 155 h 327"/>
              <a:gd name="T78" fmla="*/ 0 w 358"/>
              <a:gd name="T79" fmla="*/ 174 h 327"/>
              <a:gd name="T80" fmla="*/ 5 w 358"/>
              <a:gd name="T81" fmla="*/ 182 h 327"/>
              <a:gd name="T82" fmla="*/ 11 w 358"/>
              <a:gd name="T83" fmla="*/ 187 h 327"/>
              <a:gd name="T84" fmla="*/ 20 w 358"/>
              <a:gd name="T85" fmla="*/ 186 h 327"/>
              <a:gd name="T86" fmla="*/ 44 w 358"/>
              <a:gd name="T87" fmla="*/ 168 h 327"/>
              <a:gd name="T88" fmla="*/ 60 w 358"/>
              <a:gd name="T89" fmla="*/ 161 h 327"/>
              <a:gd name="T90" fmla="*/ 76 w 358"/>
              <a:gd name="T91" fmla="*/ 150 h 327"/>
              <a:gd name="T92" fmla="*/ 93 w 358"/>
              <a:gd name="T93" fmla="*/ 159 h 327"/>
              <a:gd name="T94" fmla="*/ 110 w 358"/>
              <a:gd name="T95" fmla="*/ 164 h 327"/>
              <a:gd name="T96" fmla="*/ 142 w 358"/>
              <a:gd name="T97" fmla="*/ 180 h 327"/>
              <a:gd name="T98" fmla="*/ 163 w 358"/>
              <a:gd name="T99" fmla="*/ 190 h 327"/>
              <a:gd name="T100" fmla="*/ 196 w 358"/>
              <a:gd name="T101" fmla="*/ 209 h 327"/>
              <a:gd name="T102" fmla="*/ 219 w 358"/>
              <a:gd name="T103" fmla="*/ 225 h 327"/>
              <a:gd name="T104" fmla="*/ 245 w 358"/>
              <a:gd name="T105" fmla="*/ 244 h 327"/>
              <a:gd name="T106" fmla="*/ 256 w 358"/>
              <a:gd name="T107" fmla="*/ 254 h 327"/>
              <a:gd name="T108" fmla="*/ 267 w 358"/>
              <a:gd name="T109" fmla="*/ 270 h 327"/>
              <a:gd name="T110" fmla="*/ 269 w 358"/>
              <a:gd name="T111" fmla="*/ 279 h 327"/>
              <a:gd name="T112" fmla="*/ 269 w 358"/>
              <a:gd name="T113" fmla="*/ 286 h 327"/>
              <a:gd name="T114" fmla="*/ 270 w 358"/>
              <a:gd name="T115" fmla="*/ 290 h 327"/>
              <a:gd name="T116" fmla="*/ 276 w 358"/>
              <a:gd name="T117" fmla="*/ 292 h 327"/>
              <a:gd name="T118" fmla="*/ 292 w 358"/>
              <a:gd name="T119" fmla="*/ 302 h 327"/>
              <a:gd name="T120" fmla="*/ 318 w 358"/>
              <a:gd name="T121" fmla="*/ 321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82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>
              <a:gd name="T0" fmla="*/ 126 w 292"/>
              <a:gd name="T1" fmla="*/ 0 h 99"/>
              <a:gd name="T2" fmla="*/ 153 w 292"/>
              <a:gd name="T3" fmla="*/ 0 h 99"/>
              <a:gd name="T4" fmla="*/ 198 w 292"/>
              <a:gd name="T5" fmla="*/ 1 h 99"/>
              <a:gd name="T6" fmla="*/ 250 w 292"/>
              <a:gd name="T7" fmla="*/ 6 h 99"/>
              <a:gd name="T8" fmla="*/ 292 w 292"/>
              <a:gd name="T9" fmla="*/ 7 h 99"/>
              <a:gd name="T10" fmla="*/ 290 w 292"/>
              <a:gd name="T11" fmla="*/ 20 h 99"/>
              <a:gd name="T12" fmla="*/ 285 w 292"/>
              <a:gd name="T13" fmla="*/ 33 h 99"/>
              <a:gd name="T14" fmla="*/ 279 w 292"/>
              <a:gd name="T15" fmla="*/ 55 h 99"/>
              <a:gd name="T16" fmla="*/ 135 w 292"/>
              <a:gd name="T17" fmla="*/ 70 h 99"/>
              <a:gd name="T18" fmla="*/ 99 w 292"/>
              <a:gd name="T19" fmla="*/ 89 h 99"/>
              <a:gd name="T20" fmla="*/ 79 w 292"/>
              <a:gd name="T21" fmla="*/ 96 h 99"/>
              <a:gd name="T22" fmla="*/ 66 w 292"/>
              <a:gd name="T23" fmla="*/ 98 h 99"/>
              <a:gd name="T24" fmla="*/ 55 w 292"/>
              <a:gd name="T25" fmla="*/ 98 h 99"/>
              <a:gd name="T26" fmla="*/ 45 w 292"/>
              <a:gd name="T27" fmla="*/ 94 h 99"/>
              <a:gd name="T28" fmla="*/ 33 w 292"/>
              <a:gd name="T29" fmla="*/ 86 h 99"/>
              <a:gd name="T30" fmla="*/ 20 w 292"/>
              <a:gd name="T31" fmla="*/ 77 h 99"/>
              <a:gd name="T32" fmla="*/ 7 w 292"/>
              <a:gd name="T33" fmla="*/ 69 h 99"/>
              <a:gd name="T34" fmla="*/ 1 w 292"/>
              <a:gd name="T35" fmla="*/ 57 h 99"/>
              <a:gd name="T36" fmla="*/ 0 w 292"/>
              <a:gd name="T37" fmla="*/ 42 h 99"/>
              <a:gd name="T38" fmla="*/ 1 w 292"/>
              <a:gd name="T39" fmla="*/ 25 h 99"/>
              <a:gd name="T40" fmla="*/ 3 w 292"/>
              <a:gd name="T41" fmla="*/ 20 h 99"/>
              <a:gd name="T42" fmla="*/ 9 w 292"/>
              <a:gd name="T43" fmla="*/ 18 h 99"/>
              <a:gd name="T44" fmla="*/ 15 w 292"/>
              <a:gd name="T45" fmla="*/ 21 h 99"/>
              <a:gd name="T46" fmla="*/ 25 w 292"/>
              <a:gd name="T47" fmla="*/ 28 h 99"/>
              <a:gd name="T48" fmla="*/ 35 w 292"/>
              <a:gd name="T49" fmla="*/ 32 h 99"/>
              <a:gd name="T50" fmla="*/ 45 w 292"/>
              <a:gd name="T51" fmla="*/ 34 h 99"/>
              <a:gd name="T52" fmla="*/ 54 w 292"/>
              <a:gd name="T53" fmla="*/ 33 h 99"/>
              <a:gd name="T54" fmla="*/ 67 w 292"/>
              <a:gd name="T55" fmla="*/ 29 h 99"/>
              <a:gd name="T56" fmla="*/ 81 w 292"/>
              <a:gd name="T57" fmla="*/ 19 h 99"/>
              <a:gd name="T58" fmla="*/ 88 w 292"/>
              <a:gd name="T59" fmla="*/ 11 h 99"/>
              <a:gd name="T60" fmla="*/ 94 w 292"/>
              <a:gd name="T61" fmla="*/ 6 h 99"/>
              <a:gd name="T62" fmla="*/ 109 w 292"/>
              <a:gd name="T63" fmla="*/ 1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83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>
              <a:gd name="T0" fmla="*/ 39 w 43"/>
              <a:gd name="T1" fmla="*/ 93 h 93"/>
              <a:gd name="T2" fmla="*/ 31 w 43"/>
              <a:gd name="T3" fmla="*/ 91 h 93"/>
              <a:gd name="T4" fmla="*/ 26 w 43"/>
              <a:gd name="T5" fmla="*/ 89 h 93"/>
              <a:gd name="T6" fmla="*/ 21 w 43"/>
              <a:gd name="T7" fmla="*/ 87 h 93"/>
              <a:gd name="T8" fmla="*/ 18 w 43"/>
              <a:gd name="T9" fmla="*/ 84 h 93"/>
              <a:gd name="T10" fmla="*/ 15 w 43"/>
              <a:gd name="T11" fmla="*/ 79 h 93"/>
              <a:gd name="T12" fmla="*/ 14 w 43"/>
              <a:gd name="T13" fmla="*/ 73 h 93"/>
              <a:gd name="T14" fmla="*/ 13 w 43"/>
              <a:gd name="T15" fmla="*/ 65 h 93"/>
              <a:gd name="T16" fmla="*/ 11 w 43"/>
              <a:gd name="T17" fmla="*/ 55 h 93"/>
              <a:gd name="T18" fmla="*/ 11 w 43"/>
              <a:gd name="T19" fmla="*/ 48 h 93"/>
              <a:gd name="T20" fmla="*/ 9 w 43"/>
              <a:gd name="T21" fmla="*/ 42 h 93"/>
              <a:gd name="T22" fmla="*/ 6 w 43"/>
              <a:gd name="T23" fmla="*/ 38 h 93"/>
              <a:gd name="T24" fmla="*/ 4 w 43"/>
              <a:gd name="T25" fmla="*/ 36 h 93"/>
              <a:gd name="T26" fmla="*/ 2 w 43"/>
              <a:gd name="T27" fmla="*/ 34 h 93"/>
              <a:gd name="T28" fmla="*/ 0 w 43"/>
              <a:gd name="T29" fmla="*/ 32 h 93"/>
              <a:gd name="T30" fmla="*/ 2 w 43"/>
              <a:gd name="T31" fmla="*/ 29 h 93"/>
              <a:gd name="T32" fmla="*/ 5 w 43"/>
              <a:gd name="T33" fmla="*/ 24 h 93"/>
              <a:gd name="T34" fmla="*/ 6 w 43"/>
              <a:gd name="T35" fmla="*/ 28 h 93"/>
              <a:gd name="T36" fmla="*/ 7 w 43"/>
              <a:gd name="T37" fmla="*/ 29 h 93"/>
              <a:gd name="T38" fmla="*/ 8 w 43"/>
              <a:gd name="T39" fmla="*/ 30 h 93"/>
              <a:gd name="T40" fmla="*/ 9 w 43"/>
              <a:gd name="T41" fmla="*/ 29 h 93"/>
              <a:gd name="T42" fmla="*/ 11 w 43"/>
              <a:gd name="T43" fmla="*/ 25 h 93"/>
              <a:gd name="T44" fmla="*/ 14 w 43"/>
              <a:gd name="T45" fmla="*/ 19 h 93"/>
              <a:gd name="T46" fmla="*/ 16 w 43"/>
              <a:gd name="T47" fmla="*/ 12 h 93"/>
              <a:gd name="T48" fmla="*/ 20 w 43"/>
              <a:gd name="T49" fmla="*/ 6 h 93"/>
              <a:gd name="T50" fmla="*/ 22 w 43"/>
              <a:gd name="T51" fmla="*/ 4 h 93"/>
              <a:gd name="T52" fmla="*/ 25 w 43"/>
              <a:gd name="T53" fmla="*/ 2 h 93"/>
              <a:gd name="T54" fmla="*/ 28 w 43"/>
              <a:gd name="T55" fmla="*/ 0 h 93"/>
              <a:gd name="T56" fmla="*/ 32 w 43"/>
              <a:gd name="T57" fmla="*/ 0 h 93"/>
              <a:gd name="T58" fmla="*/ 33 w 43"/>
              <a:gd name="T59" fmla="*/ 10 h 93"/>
              <a:gd name="T60" fmla="*/ 33 w 43"/>
              <a:gd name="T61" fmla="*/ 16 h 93"/>
              <a:gd name="T62" fmla="*/ 33 w 43"/>
              <a:gd name="T63" fmla="*/ 20 h 93"/>
              <a:gd name="T64" fmla="*/ 32 w 43"/>
              <a:gd name="T65" fmla="*/ 23 h 93"/>
              <a:gd name="T66" fmla="*/ 32 w 43"/>
              <a:gd name="T67" fmla="*/ 27 h 93"/>
              <a:gd name="T68" fmla="*/ 32 w 43"/>
              <a:gd name="T69" fmla="*/ 31 h 93"/>
              <a:gd name="T70" fmla="*/ 35 w 43"/>
              <a:gd name="T71" fmla="*/ 36 h 93"/>
              <a:gd name="T72" fmla="*/ 39 w 43"/>
              <a:gd name="T73" fmla="*/ 43 h 93"/>
              <a:gd name="T74" fmla="*/ 38 w 43"/>
              <a:gd name="T75" fmla="*/ 44 h 93"/>
              <a:gd name="T76" fmla="*/ 37 w 43"/>
              <a:gd name="T77" fmla="*/ 45 h 93"/>
              <a:gd name="T78" fmla="*/ 37 w 43"/>
              <a:gd name="T79" fmla="*/ 48 h 93"/>
              <a:gd name="T80" fmla="*/ 38 w 43"/>
              <a:gd name="T81" fmla="*/ 51 h 93"/>
              <a:gd name="T82" fmla="*/ 39 w 43"/>
              <a:gd name="T83" fmla="*/ 59 h 93"/>
              <a:gd name="T84" fmla="*/ 41 w 43"/>
              <a:gd name="T85" fmla="*/ 68 h 93"/>
              <a:gd name="T86" fmla="*/ 42 w 43"/>
              <a:gd name="T87" fmla="*/ 76 h 93"/>
              <a:gd name="T88" fmla="*/ 43 w 43"/>
              <a:gd name="T89" fmla="*/ 85 h 93"/>
              <a:gd name="T90" fmla="*/ 43 w 43"/>
              <a:gd name="T91" fmla="*/ 88 h 93"/>
              <a:gd name="T92" fmla="*/ 42 w 43"/>
              <a:gd name="T93" fmla="*/ 91 h 93"/>
              <a:gd name="T94" fmla="*/ 40 w 43"/>
              <a:gd name="T95" fmla="*/ 92 h 93"/>
              <a:gd name="T96" fmla="*/ 39 w 43"/>
              <a:gd name="T97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84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>
              <a:gd name="T0" fmla="*/ 40 w 40"/>
              <a:gd name="T1" fmla="*/ 56 h 56"/>
              <a:gd name="T2" fmla="*/ 37 w 40"/>
              <a:gd name="T3" fmla="*/ 46 h 56"/>
              <a:gd name="T4" fmla="*/ 33 w 40"/>
              <a:gd name="T5" fmla="*/ 38 h 56"/>
              <a:gd name="T6" fmla="*/ 28 w 40"/>
              <a:gd name="T7" fmla="*/ 32 h 56"/>
              <a:gd name="T8" fmla="*/ 23 w 40"/>
              <a:gd name="T9" fmla="*/ 28 h 56"/>
              <a:gd name="T10" fmla="*/ 11 w 40"/>
              <a:gd name="T11" fmla="*/ 21 h 56"/>
              <a:gd name="T12" fmla="*/ 0 w 40"/>
              <a:gd name="T13" fmla="*/ 12 h 56"/>
              <a:gd name="T14" fmla="*/ 13 w 40"/>
              <a:gd name="T15" fmla="*/ 4 h 56"/>
              <a:gd name="T16" fmla="*/ 20 w 40"/>
              <a:gd name="T17" fmla="*/ 0 h 56"/>
              <a:gd name="T18" fmla="*/ 28 w 40"/>
              <a:gd name="T19" fmla="*/ 12 h 56"/>
              <a:gd name="T20" fmla="*/ 35 w 40"/>
              <a:gd name="T21" fmla="*/ 22 h 56"/>
              <a:gd name="T22" fmla="*/ 37 w 40"/>
              <a:gd name="T23" fmla="*/ 25 h 56"/>
              <a:gd name="T24" fmla="*/ 39 w 40"/>
              <a:gd name="T25" fmla="*/ 29 h 56"/>
              <a:gd name="T26" fmla="*/ 39 w 40"/>
              <a:gd name="T27" fmla="*/ 33 h 56"/>
              <a:gd name="T28" fmla="*/ 40 w 40"/>
              <a:gd name="T29" fmla="*/ 37 h 56"/>
              <a:gd name="T30" fmla="*/ 40 w 40"/>
              <a:gd name="T31" fmla="*/ 44 h 56"/>
              <a:gd name="T32" fmla="*/ 40 w 40"/>
              <a:gd name="T33" fmla="*/ 46 h 56"/>
              <a:gd name="T34" fmla="*/ 40 w 40"/>
              <a:gd name="T35" fmla="*/ 49 h 56"/>
              <a:gd name="T36" fmla="*/ 40 w 40"/>
              <a:gd name="T37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85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>
              <a:gd name="T0" fmla="*/ 0 w 106"/>
              <a:gd name="T1" fmla="*/ 7 h 71"/>
              <a:gd name="T2" fmla="*/ 12 w 106"/>
              <a:gd name="T3" fmla="*/ 10 h 71"/>
              <a:gd name="T4" fmla="*/ 24 w 106"/>
              <a:gd name="T5" fmla="*/ 12 h 71"/>
              <a:gd name="T6" fmla="*/ 35 w 106"/>
              <a:gd name="T7" fmla="*/ 13 h 71"/>
              <a:gd name="T8" fmla="*/ 45 w 106"/>
              <a:gd name="T9" fmla="*/ 13 h 71"/>
              <a:gd name="T10" fmla="*/ 54 w 106"/>
              <a:gd name="T11" fmla="*/ 11 h 71"/>
              <a:gd name="T12" fmla="*/ 61 w 106"/>
              <a:gd name="T13" fmla="*/ 8 h 71"/>
              <a:gd name="T14" fmla="*/ 68 w 106"/>
              <a:gd name="T15" fmla="*/ 5 h 71"/>
              <a:gd name="T16" fmla="*/ 74 w 106"/>
              <a:gd name="T17" fmla="*/ 0 h 71"/>
              <a:gd name="T18" fmla="*/ 84 w 106"/>
              <a:gd name="T19" fmla="*/ 16 h 71"/>
              <a:gd name="T20" fmla="*/ 94 w 106"/>
              <a:gd name="T21" fmla="*/ 30 h 71"/>
              <a:gd name="T22" fmla="*/ 101 w 106"/>
              <a:gd name="T23" fmla="*/ 44 h 71"/>
              <a:gd name="T24" fmla="*/ 105 w 106"/>
              <a:gd name="T25" fmla="*/ 55 h 71"/>
              <a:gd name="T26" fmla="*/ 106 w 106"/>
              <a:gd name="T27" fmla="*/ 60 h 71"/>
              <a:gd name="T28" fmla="*/ 106 w 106"/>
              <a:gd name="T29" fmla="*/ 63 h 71"/>
              <a:gd name="T30" fmla="*/ 105 w 106"/>
              <a:gd name="T31" fmla="*/ 67 h 71"/>
              <a:gd name="T32" fmla="*/ 103 w 106"/>
              <a:gd name="T33" fmla="*/ 69 h 71"/>
              <a:gd name="T34" fmla="*/ 101 w 106"/>
              <a:gd name="T35" fmla="*/ 70 h 71"/>
              <a:gd name="T36" fmla="*/ 98 w 106"/>
              <a:gd name="T37" fmla="*/ 70 h 71"/>
              <a:gd name="T38" fmla="*/ 92 w 106"/>
              <a:gd name="T39" fmla="*/ 70 h 71"/>
              <a:gd name="T40" fmla="*/ 87 w 106"/>
              <a:gd name="T41" fmla="*/ 68 h 71"/>
              <a:gd name="T42" fmla="*/ 74 w 106"/>
              <a:gd name="T43" fmla="*/ 70 h 71"/>
              <a:gd name="T44" fmla="*/ 63 w 106"/>
              <a:gd name="T45" fmla="*/ 71 h 71"/>
              <a:gd name="T46" fmla="*/ 53 w 106"/>
              <a:gd name="T47" fmla="*/ 69 h 71"/>
              <a:gd name="T48" fmla="*/ 45 w 106"/>
              <a:gd name="T49" fmla="*/ 66 h 71"/>
              <a:gd name="T50" fmla="*/ 37 w 106"/>
              <a:gd name="T51" fmla="*/ 62 h 71"/>
              <a:gd name="T52" fmla="*/ 32 w 106"/>
              <a:gd name="T53" fmla="*/ 57 h 71"/>
              <a:gd name="T54" fmla="*/ 27 w 106"/>
              <a:gd name="T55" fmla="*/ 51 h 71"/>
              <a:gd name="T56" fmla="*/ 24 w 106"/>
              <a:gd name="T57" fmla="*/ 45 h 71"/>
              <a:gd name="T58" fmla="*/ 21 w 106"/>
              <a:gd name="T59" fmla="*/ 38 h 71"/>
              <a:gd name="T60" fmla="*/ 20 w 106"/>
              <a:gd name="T61" fmla="*/ 30 h 71"/>
              <a:gd name="T62" fmla="*/ 19 w 106"/>
              <a:gd name="T63" fmla="*/ 24 h 71"/>
              <a:gd name="T64" fmla="*/ 18 w 106"/>
              <a:gd name="T65" fmla="*/ 19 h 71"/>
              <a:gd name="T66" fmla="*/ 18 w 106"/>
              <a:gd name="T67" fmla="*/ 14 h 71"/>
              <a:gd name="T68" fmla="*/ 19 w 106"/>
              <a:gd name="T69" fmla="*/ 10 h 71"/>
              <a:gd name="T70" fmla="*/ 20 w 106"/>
              <a:gd name="T71" fmla="*/ 7 h 71"/>
              <a:gd name="T72" fmla="*/ 21 w 106"/>
              <a:gd name="T73" fmla="*/ 7 h 71"/>
              <a:gd name="T74" fmla="*/ 20 w 106"/>
              <a:gd name="T75" fmla="*/ 10 h 71"/>
              <a:gd name="T76" fmla="*/ 19 w 106"/>
              <a:gd name="T77" fmla="*/ 16 h 71"/>
              <a:gd name="T78" fmla="*/ 19 w 106"/>
              <a:gd name="T79" fmla="*/ 17 h 71"/>
              <a:gd name="T80" fmla="*/ 19 w 106"/>
              <a:gd name="T81" fmla="*/ 17 h 71"/>
              <a:gd name="T82" fmla="*/ 20 w 106"/>
              <a:gd name="T83" fmla="*/ 17 h 71"/>
              <a:gd name="T84" fmla="*/ 21 w 106"/>
              <a:gd name="T85" fmla="*/ 17 h 71"/>
              <a:gd name="T86" fmla="*/ 23 w 106"/>
              <a:gd name="T87" fmla="*/ 13 h 71"/>
              <a:gd name="T88" fmla="*/ 27 w 106"/>
              <a:gd name="T89" fmla="*/ 7 h 71"/>
              <a:gd name="T90" fmla="*/ 0 w 106"/>
              <a:gd name="T91" fmla="*/ 7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A5D7D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086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</p:grpSpPr>
        <p:sp>
          <p:nvSpPr>
            <p:cNvPr id="208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26 w 59"/>
                <a:gd name="T1" fmla="*/ 43 h 43"/>
                <a:gd name="T2" fmla="*/ 59 w 59"/>
                <a:gd name="T3" fmla="*/ 18 h 43"/>
                <a:gd name="T4" fmla="*/ 55 w 59"/>
                <a:gd name="T5" fmla="*/ 14 h 43"/>
                <a:gd name="T6" fmla="*/ 51 w 59"/>
                <a:gd name="T7" fmla="*/ 9 h 43"/>
                <a:gd name="T8" fmla="*/ 47 w 59"/>
                <a:gd name="T9" fmla="*/ 5 h 43"/>
                <a:gd name="T10" fmla="*/ 46 w 59"/>
                <a:gd name="T11" fmla="*/ 0 h 43"/>
                <a:gd name="T12" fmla="*/ 41 w 59"/>
                <a:gd name="T13" fmla="*/ 1 h 43"/>
                <a:gd name="T14" fmla="*/ 34 w 59"/>
                <a:gd name="T15" fmla="*/ 4 h 43"/>
                <a:gd name="T16" fmla="*/ 31 w 59"/>
                <a:gd name="T17" fmla="*/ 6 h 43"/>
                <a:gd name="T18" fmla="*/ 29 w 59"/>
                <a:gd name="T19" fmla="*/ 8 h 43"/>
                <a:gd name="T20" fmla="*/ 26 w 59"/>
                <a:gd name="T21" fmla="*/ 10 h 43"/>
                <a:gd name="T22" fmla="*/ 26 w 59"/>
                <a:gd name="T23" fmla="*/ 12 h 43"/>
                <a:gd name="T24" fmla="*/ 20 w 59"/>
                <a:gd name="T25" fmla="*/ 13 h 43"/>
                <a:gd name="T26" fmla="*/ 13 w 59"/>
                <a:gd name="T27" fmla="*/ 16 h 43"/>
                <a:gd name="T28" fmla="*/ 6 w 59"/>
                <a:gd name="T29" fmla="*/ 20 h 43"/>
                <a:gd name="T30" fmla="*/ 0 w 59"/>
                <a:gd name="T31" fmla="*/ 24 h 43"/>
                <a:gd name="T32" fmla="*/ 5 w 59"/>
                <a:gd name="T33" fmla="*/ 29 h 43"/>
                <a:gd name="T34" fmla="*/ 10 w 59"/>
                <a:gd name="T35" fmla="*/ 34 h 43"/>
                <a:gd name="T36" fmla="*/ 18 w 59"/>
                <a:gd name="T37" fmla="*/ 39 h 43"/>
                <a:gd name="T38" fmla="*/ 26 w 59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08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2 h 51"/>
                <a:gd name="T2" fmla="*/ 24 w 67"/>
                <a:gd name="T3" fmla="*/ 1 h 51"/>
                <a:gd name="T4" fmla="*/ 39 w 67"/>
                <a:gd name="T5" fmla="*/ 0 h 51"/>
                <a:gd name="T6" fmla="*/ 45 w 67"/>
                <a:gd name="T7" fmla="*/ 1 h 51"/>
                <a:gd name="T8" fmla="*/ 51 w 67"/>
                <a:gd name="T9" fmla="*/ 2 h 51"/>
                <a:gd name="T10" fmla="*/ 58 w 67"/>
                <a:gd name="T11" fmla="*/ 4 h 51"/>
                <a:gd name="T12" fmla="*/ 67 w 67"/>
                <a:gd name="T13" fmla="*/ 8 h 51"/>
                <a:gd name="T14" fmla="*/ 55 w 67"/>
                <a:gd name="T15" fmla="*/ 13 h 51"/>
                <a:gd name="T16" fmla="*/ 46 w 67"/>
                <a:gd name="T17" fmla="*/ 19 h 51"/>
                <a:gd name="T18" fmla="*/ 42 w 67"/>
                <a:gd name="T19" fmla="*/ 22 h 51"/>
                <a:gd name="T20" fmla="*/ 36 w 67"/>
                <a:gd name="T21" fmla="*/ 24 h 51"/>
                <a:gd name="T22" fmla="*/ 29 w 67"/>
                <a:gd name="T23" fmla="*/ 26 h 51"/>
                <a:gd name="T24" fmla="*/ 20 w 67"/>
                <a:gd name="T25" fmla="*/ 26 h 51"/>
                <a:gd name="T26" fmla="*/ 24 w 67"/>
                <a:gd name="T27" fmla="*/ 26 h 51"/>
                <a:gd name="T28" fmla="*/ 34 w 67"/>
                <a:gd name="T29" fmla="*/ 26 h 51"/>
                <a:gd name="T30" fmla="*/ 29 w 67"/>
                <a:gd name="T31" fmla="*/ 34 h 51"/>
                <a:gd name="T32" fmla="*/ 25 w 67"/>
                <a:gd name="T33" fmla="*/ 40 h 51"/>
                <a:gd name="T34" fmla="*/ 22 w 67"/>
                <a:gd name="T35" fmla="*/ 44 h 51"/>
                <a:gd name="T36" fmla="*/ 20 w 67"/>
                <a:gd name="T37" fmla="*/ 46 h 51"/>
                <a:gd name="T38" fmla="*/ 12 w 67"/>
                <a:gd name="T39" fmla="*/ 48 h 51"/>
                <a:gd name="T40" fmla="*/ 0 w 67"/>
                <a:gd name="T41" fmla="*/ 51 h 51"/>
                <a:gd name="T42" fmla="*/ 0 w 67"/>
                <a:gd name="T43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089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>
              <a:gd name="T0" fmla="*/ 0 w 80"/>
              <a:gd name="T1" fmla="*/ 15 h 34"/>
              <a:gd name="T2" fmla="*/ 1 w 80"/>
              <a:gd name="T3" fmla="*/ 19 h 34"/>
              <a:gd name="T4" fmla="*/ 2 w 80"/>
              <a:gd name="T5" fmla="*/ 21 h 34"/>
              <a:gd name="T6" fmla="*/ 4 w 80"/>
              <a:gd name="T7" fmla="*/ 24 h 34"/>
              <a:gd name="T8" fmla="*/ 7 w 80"/>
              <a:gd name="T9" fmla="*/ 26 h 34"/>
              <a:gd name="T10" fmla="*/ 13 w 80"/>
              <a:gd name="T11" fmla="*/ 29 h 34"/>
              <a:gd name="T12" fmla="*/ 22 w 80"/>
              <a:gd name="T13" fmla="*/ 31 h 34"/>
              <a:gd name="T14" fmla="*/ 40 w 80"/>
              <a:gd name="T15" fmla="*/ 33 h 34"/>
              <a:gd name="T16" fmla="*/ 54 w 80"/>
              <a:gd name="T17" fmla="*/ 34 h 34"/>
              <a:gd name="T18" fmla="*/ 58 w 80"/>
              <a:gd name="T19" fmla="*/ 33 h 34"/>
              <a:gd name="T20" fmla="*/ 62 w 80"/>
              <a:gd name="T21" fmla="*/ 32 h 34"/>
              <a:gd name="T22" fmla="*/ 65 w 80"/>
              <a:gd name="T23" fmla="*/ 29 h 34"/>
              <a:gd name="T24" fmla="*/ 67 w 80"/>
              <a:gd name="T25" fmla="*/ 27 h 34"/>
              <a:gd name="T26" fmla="*/ 73 w 80"/>
              <a:gd name="T27" fmla="*/ 21 h 34"/>
              <a:gd name="T28" fmla="*/ 80 w 80"/>
              <a:gd name="T29" fmla="*/ 15 h 34"/>
              <a:gd name="T30" fmla="*/ 75 w 80"/>
              <a:gd name="T31" fmla="*/ 10 h 34"/>
              <a:gd name="T32" fmla="*/ 70 w 80"/>
              <a:gd name="T33" fmla="*/ 7 h 34"/>
              <a:gd name="T34" fmla="*/ 65 w 80"/>
              <a:gd name="T35" fmla="*/ 4 h 34"/>
              <a:gd name="T36" fmla="*/ 60 w 80"/>
              <a:gd name="T37" fmla="*/ 2 h 34"/>
              <a:gd name="T38" fmla="*/ 55 w 80"/>
              <a:gd name="T39" fmla="*/ 0 h 34"/>
              <a:gd name="T40" fmla="*/ 51 w 80"/>
              <a:gd name="T41" fmla="*/ 0 h 34"/>
              <a:gd name="T42" fmla="*/ 45 w 80"/>
              <a:gd name="T43" fmla="*/ 1 h 34"/>
              <a:gd name="T44" fmla="*/ 41 w 80"/>
              <a:gd name="T45" fmla="*/ 2 h 34"/>
              <a:gd name="T46" fmla="*/ 34 w 80"/>
              <a:gd name="T47" fmla="*/ 2 h 34"/>
              <a:gd name="T48" fmla="*/ 21 w 80"/>
              <a:gd name="T49" fmla="*/ 2 h 34"/>
              <a:gd name="T50" fmla="*/ 13 w 80"/>
              <a:gd name="T51" fmla="*/ 3 h 34"/>
              <a:gd name="T52" fmla="*/ 7 w 80"/>
              <a:gd name="T53" fmla="*/ 5 h 34"/>
              <a:gd name="T54" fmla="*/ 4 w 80"/>
              <a:gd name="T55" fmla="*/ 7 h 34"/>
              <a:gd name="T56" fmla="*/ 2 w 80"/>
              <a:gd name="T57" fmla="*/ 9 h 34"/>
              <a:gd name="T58" fmla="*/ 1 w 80"/>
              <a:gd name="T59" fmla="*/ 11 h 34"/>
              <a:gd name="T60" fmla="*/ 0 w 80"/>
              <a:gd name="T61" fmla="*/ 15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90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7 w 7"/>
              <a:gd name="T3" fmla="*/ 13 h 13"/>
              <a:gd name="T4" fmla="*/ 7 w 7"/>
              <a:gd name="T5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91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7 w 20"/>
              <a:gd name="T3" fmla="*/ 3 h 6"/>
              <a:gd name="T4" fmla="*/ 20 w 20"/>
              <a:gd name="T5" fmla="*/ 6 h 6"/>
              <a:gd name="T6" fmla="*/ 0 w 20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92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>
              <a:gd name="T0" fmla="*/ 0 w 14"/>
              <a:gd name="T1" fmla="*/ 12 h 12"/>
              <a:gd name="T2" fmla="*/ 14 w 14"/>
              <a:gd name="T3" fmla="*/ 0 h 12"/>
              <a:gd name="T4" fmla="*/ 0 w 14"/>
              <a:gd name="T5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93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4 h 7"/>
              <a:gd name="T4" fmla="*/ 2 w 27"/>
              <a:gd name="T5" fmla="*/ 6 h 7"/>
              <a:gd name="T6" fmla="*/ 7 w 27"/>
              <a:gd name="T7" fmla="*/ 7 h 7"/>
              <a:gd name="T8" fmla="*/ 10 w 27"/>
              <a:gd name="T9" fmla="*/ 7 h 7"/>
              <a:gd name="T10" fmla="*/ 15 w 27"/>
              <a:gd name="T11" fmla="*/ 6 h 7"/>
              <a:gd name="T12" fmla="*/ 19 w 27"/>
              <a:gd name="T13" fmla="*/ 4 h 7"/>
              <a:gd name="T14" fmla="*/ 23 w 27"/>
              <a:gd name="T15" fmla="*/ 2 h 7"/>
              <a:gd name="T16" fmla="*/ 27 w 27"/>
              <a:gd name="T17" fmla="*/ 0 h 7"/>
              <a:gd name="T18" fmla="*/ 0 w 27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94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11 w 27"/>
              <a:gd name="T3" fmla="*/ 3 h 6"/>
              <a:gd name="T4" fmla="*/ 27 w 27"/>
              <a:gd name="T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95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96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97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>
              <a:gd name="T0" fmla="*/ 0 w 20"/>
              <a:gd name="T1" fmla="*/ 24 h 24"/>
              <a:gd name="T2" fmla="*/ 2 w 20"/>
              <a:gd name="T3" fmla="*/ 24 h 24"/>
              <a:gd name="T4" fmla="*/ 6 w 20"/>
              <a:gd name="T5" fmla="*/ 22 h 24"/>
              <a:gd name="T6" fmla="*/ 9 w 20"/>
              <a:gd name="T7" fmla="*/ 20 h 24"/>
              <a:gd name="T8" fmla="*/ 12 w 20"/>
              <a:gd name="T9" fmla="*/ 16 h 24"/>
              <a:gd name="T10" fmla="*/ 15 w 20"/>
              <a:gd name="T11" fmla="*/ 13 h 24"/>
              <a:gd name="T12" fmla="*/ 18 w 20"/>
              <a:gd name="T13" fmla="*/ 9 h 24"/>
              <a:gd name="T14" fmla="*/ 19 w 20"/>
              <a:gd name="T15" fmla="*/ 4 h 24"/>
              <a:gd name="T16" fmla="*/ 20 w 20"/>
              <a:gd name="T1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98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>
              <a:gd name="T0" fmla="*/ 13 w 33"/>
              <a:gd name="T1" fmla="*/ 7 h 25"/>
              <a:gd name="T2" fmla="*/ 0 w 33"/>
              <a:gd name="T3" fmla="*/ 19 h 25"/>
              <a:gd name="T4" fmla="*/ 10 w 33"/>
              <a:gd name="T5" fmla="*/ 20 h 25"/>
              <a:gd name="T6" fmla="*/ 19 w 33"/>
              <a:gd name="T7" fmla="*/ 22 h 25"/>
              <a:gd name="T8" fmla="*/ 27 w 33"/>
              <a:gd name="T9" fmla="*/ 25 h 25"/>
              <a:gd name="T10" fmla="*/ 33 w 33"/>
              <a:gd name="T11" fmla="*/ 25 h 25"/>
              <a:gd name="T12" fmla="*/ 33 w 33"/>
              <a:gd name="T13" fmla="*/ 0 h 25"/>
              <a:gd name="T14" fmla="*/ 27 w 33"/>
              <a:gd name="T15" fmla="*/ 0 h 25"/>
              <a:gd name="T16" fmla="*/ 13 w 33"/>
              <a:gd name="T17" fmla="*/ 7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99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3 w 40"/>
              <a:gd name="T3" fmla="*/ 6 h 18"/>
              <a:gd name="T4" fmla="*/ 6 w 40"/>
              <a:gd name="T5" fmla="*/ 11 h 18"/>
              <a:gd name="T6" fmla="*/ 10 w 40"/>
              <a:gd name="T7" fmla="*/ 14 h 18"/>
              <a:gd name="T8" fmla="*/ 15 w 40"/>
              <a:gd name="T9" fmla="*/ 16 h 18"/>
              <a:gd name="T10" fmla="*/ 27 w 40"/>
              <a:gd name="T11" fmla="*/ 18 h 18"/>
              <a:gd name="T12" fmla="*/ 40 w 40"/>
              <a:gd name="T13" fmla="*/ 18 h 18"/>
              <a:gd name="T14" fmla="*/ 40 w 40"/>
              <a:gd name="T15" fmla="*/ 0 h 18"/>
              <a:gd name="T16" fmla="*/ 30 w 40"/>
              <a:gd name="T17" fmla="*/ 0 h 18"/>
              <a:gd name="T18" fmla="*/ 20 w 40"/>
              <a:gd name="T19" fmla="*/ 0 h 18"/>
              <a:gd name="T20" fmla="*/ 10 w 40"/>
              <a:gd name="T21" fmla="*/ 0 h 18"/>
              <a:gd name="T22" fmla="*/ 0 w 4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00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>
              <a:gd name="T0" fmla="*/ 4 w 11"/>
              <a:gd name="T1" fmla="*/ 32 h 32"/>
              <a:gd name="T2" fmla="*/ 6 w 11"/>
              <a:gd name="T3" fmla="*/ 28 h 32"/>
              <a:gd name="T4" fmla="*/ 8 w 11"/>
              <a:gd name="T5" fmla="*/ 25 h 32"/>
              <a:gd name="T6" fmla="*/ 9 w 11"/>
              <a:gd name="T7" fmla="*/ 22 h 32"/>
              <a:gd name="T8" fmla="*/ 10 w 11"/>
              <a:gd name="T9" fmla="*/ 18 h 32"/>
              <a:gd name="T10" fmla="*/ 11 w 11"/>
              <a:gd name="T11" fmla="*/ 9 h 32"/>
              <a:gd name="T12" fmla="*/ 11 w 11"/>
              <a:gd name="T13" fmla="*/ 0 h 32"/>
              <a:gd name="T14" fmla="*/ 6 w 11"/>
              <a:gd name="T15" fmla="*/ 3 h 32"/>
              <a:gd name="T16" fmla="*/ 3 w 11"/>
              <a:gd name="T17" fmla="*/ 7 h 32"/>
              <a:gd name="T18" fmla="*/ 1 w 11"/>
              <a:gd name="T19" fmla="*/ 11 h 32"/>
              <a:gd name="T20" fmla="*/ 0 w 11"/>
              <a:gd name="T21" fmla="*/ 16 h 32"/>
              <a:gd name="T22" fmla="*/ 0 w 11"/>
              <a:gd name="T23" fmla="*/ 20 h 32"/>
              <a:gd name="T24" fmla="*/ 1 w 11"/>
              <a:gd name="T25" fmla="*/ 24 h 32"/>
              <a:gd name="T26" fmla="*/ 2 w 11"/>
              <a:gd name="T27" fmla="*/ 28 h 32"/>
              <a:gd name="T28" fmla="*/ 4 w 11"/>
              <a:gd name="T2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01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4 h 24"/>
              <a:gd name="T4" fmla="*/ 14 w 14"/>
              <a:gd name="T5" fmla="*/ 12 h 24"/>
              <a:gd name="T6" fmla="*/ 0 w 14"/>
              <a:gd name="T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02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>
              <a:gd name="T0" fmla="*/ 0 w 27"/>
              <a:gd name="T1" fmla="*/ 12 h 18"/>
              <a:gd name="T2" fmla="*/ 7 w 27"/>
              <a:gd name="T3" fmla="*/ 15 h 18"/>
              <a:gd name="T4" fmla="*/ 13 w 27"/>
              <a:gd name="T5" fmla="*/ 18 h 18"/>
              <a:gd name="T6" fmla="*/ 22 w 27"/>
              <a:gd name="T7" fmla="*/ 7 h 18"/>
              <a:gd name="T8" fmla="*/ 27 w 27"/>
              <a:gd name="T9" fmla="*/ 0 h 18"/>
              <a:gd name="T10" fmla="*/ 22 w 27"/>
              <a:gd name="T11" fmla="*/ 0 h 18"/>
              <a:gd name="T12" fmla="*/ 18 w 27"/>
              <a:gd name="T13" fmla="*/ 1 h 18"/>
              <a:gd name="T14" fmla="*/ 13 w 27"/>
              <a:gd name="T15" fmla="*/ 2 h 18"/>
              <a:gd name="T16" fmla="*/ 10 w 27"/>
              <a:gd name="T17" fmla="*/ 4 h 18"/>
              <a:gd name="T18" fmla="*/ 5 w 27"/>
              <a:gd name="T19" fmla="*/ 8 h 18"/>
              <a:gd name="T20" fmla="*/ 0 w 27"/>
              <a:gd name="T21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03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>
              <a:gd name="T0" fmla="*/ 0 w 47"/>
              <a:gd name="T1" fmla="*/ 36 h 49"/>
              <a:gd name="T2" fmla="*/ 1 w 47"/>
              <a:gd name="T3" fmla="*/ 39 h 49"/>
              <a:gd name="T4" fmla="*/ 2 w 47"/>
              <a:gd name="T5" fmla="*/ 41 h 49"/>
              <a:gd name="T6" fmla="*/ 4 w 47"/>
              <a:gd name="T7" fmla="*/ 43 h 49"/>
              <a:gd name="T8" fmla="*/ 6 w 47"/>
              <a:gd name="T9" fmla="*/ 45 h 49"/>
              <a:gd name="T10" fmla="*/ 12 w 47"/>
              <a:gd name="T11" fmla="*/ 48 h 49"/>
              <a:gd name="T12" fmla="*/ 14 w 47"/>
              <a:gd name="T13" fmla="*/ 49 h 49"/>
              <a:gd name="T14" fmla="*/ 18 w 47"/>
              <a:gd name="T15" fmla="*/ 49 h 49"/>
              <a:gd name="T16" fmla="*/ 24 w 47"/>
              <a:gd name="T17" fmla="*/ 46 h 49"/>
              <a:gd name="T18" fmla="*/ 29 w 47"/>
              <a:gd name="T19" fmla="*/ 42 h 49"/>
              <a:gd name="T20" fmla="*/ 35 w 47"/>
              <a:gd name="T21" fmla="*/ 39 h 49"/>
              <a:gd name="T22" fmla="*/ 39 w 47"/>
              <a:gd name="T23" fmla="*/ 35 h 49"/>
              <a:gd name="T24" fmla="*/ 44 w 47"/>
              <a:gd name="T25" fmla="*/ 31 h 49"/>
              <a:gd name="T26" fmla="*/ 46 w 47"/>
              <a:gd name="T27" fmla="*/ 27 h 49"/>
              <a:gd name="T28" fmla="*/ 47 w 47"/>
              <a:gd name="T29" fmla="*/ 24 h 49"/>
              <a:gd name="T30" fmla="*/ 47 w 47"/>
              <a:gd name="T31" fmla="*/ 12 h 49"/>
              <a:gd name="T32" fmla="*/ 47 w 47"/>
              <a:gd name="T33" fmla="*/ 0 h 49"/>
              <a:gd name="T34" fmla="*/ 27 w 47"/>
              <a:gd name="T35" fmla="*/ 0 h 49"/>
              <a:gd name="T36" fmla="*/ 17 w 47"/>
              <a:gd name="T37" fmla="*/ 8 h 49"/>
              <a:gd name="T38" fmla="*/ 9 w 47"/>
              <a:gd name="T39" fmla="*/ 16 h 49"/>
              <a:gd name="T40" fmla="*/ 5 w 47"/>
              <a:gd name="T41" fmla="*/ 20 h 49"/>
              <a:gd name="T42" fmla="*/ 2 w 47"/>
              <a:gd name="T43" fmla="*/ 25 h 49"/>
              <a:gd name="T44" fmla="*/ 1 w 47"/>
              <a:gd name="T45" fmla="*/ 30 h 49"/>
              <a:gd name="T46" fmla="*/ 0 w 47"/>
              <a:gd name="T47" fmla="*/ 3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04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4 h 9"/>
              <a:gd name="T4" fmla="*/ 3 w 26"/>
              <a:gd name="T5" fmla="*/ 7 h 9"/>
              <a:gd name="T6" fmla="*/ 6 w 26"/>
              <a:gd name="T7" fmla="*/ 8 h 9"/>
              <a:gd name="T8" fmla="*/ 11 w 26"/>
              <a:gd name="T9" fmla="*/ 9 h 9"/>
              <a:gd name="T10" fmla="*/ 15 w 26"/>
              <a:gd name="T11" fmla="*/ 8 h 9"/>
              <a:gd name="T12" fmla="*/ 20 w 26"/>
              <a:gd name="T13" fmla="*/ 7 h 9"/>
              <a:gd name="T14" fmla="*/ 23 w 26"/>
              <a:gd name="T15" fmla="*/ 4 h 9"/>
              <a:gd name="T16" fmla="*/ 26 w 26"/>
              <a:gd name="T17" fmla="*/ 0 h 9"/>
              <a:gd name="T18" fmla="*/ 0 w 26"/>
              <a:gd name="T1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05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 h 18"/>
              <a:gd name="T4" fmla="*/ 6 w 39"/>
              <a:gd name="T5" fmla="*/ 18 h 18"/>
              <a:gd name="T6" fmla="*/ 13 w 39"/>
              <a:gd name="T7" fmla="*/ 18 h 18"/>
              <a:gd name="T8" fmla="*/ 23 w 39"/>
              <a:gd name="T9" fmla="*/ 17 h 18"/>
              <a:gd name="T10" fmla="*/ 30 w 39"/>
              <a:gd name="T11" fmla="*/ 14 h 18"/>
              <a:gd name="T12" fmla="*/ 34 w 39"/>
              <a:gd name="T13" fmla="*/ 12 h 18"/>
              <a:gd name="T14" fmla="*/ 37 w 39"/>
              <a:gd name="T15" fmla="*/ 10 h 18"/>
              <a:gd name="T16" fmla="*/ 38 w 39"/>
              <a:gd name="T17" fmla="*/ 8 h 18"/>
              <a:gd name="T18" fmla="*/ 39 w 39"/>
              <a:gd name="T19" fmla="*/ 6 h 18"/>
              <a:gd name="T20" fmla="*/ 29 w 39"/>
              <a:gd name="T21" fmla="*/ 5 h 18"/>
              <a:gd name="T22" fmla="*/ 19 w 39"/>
              <a:gd name="T23" fmla="*/ 3 h 18"/>
              <a:gd name="T24" fmla="*/ 10 w 39"/>
              <a:gd name="T25" fmla="*/ 0 h 18"/>
              <a:gd name="T26" fmla="*/ 0 w 39"/>
              <a:gd name="T2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106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</p:grpSpPr>
        <p:sp>
          <p:nvSpPr>
            <p:cNvPr id="210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25 h 25"/>
                <a:gd name="T2" fmla="*/ 7 w 52"/>
                <a:gd name="T3" fmla="*/ 25 h 25"/>
                <a:gd name="T4" fmla="*/ 15 w 52"/>
                <a:gd name="T5" fmla="*/ 24 h 25"/>
                <a:gd name="T6" fmla="*/ 23 w 52"/>
                <a:gd name="T7" fmla="*/ 22 h 25"/>
                <a:gd name="T8" fmla="*/ 30 w 52"/>
                <a:gd name="T9" fmla="*/ 19 h 25"/>
                <a:gd name="T10" fmla="*/ 38 w 52"/>
                <a:gd name="T11" fmla="*/ 15 h 25"/>
                <a:gd name="T12" fmla="*/ 43 w 52"/>
                <a:gd name="T13" fmla="*/ 11 h 25"/>
                <a:gd name="T14" fmla="*/ 49 w 52"/>
                <a:gd name="T15" fmla="*/ 6 h 25"/>
                <a:gd name="T16" fmla="*/ 52 w 52"/>
                <a:gd name="T17" fmla="*/ 0 h 25"/>
                <a:gd name="T18" fmla="*/ 40 w 52"/>
                <a:gd name="T19" fmla="*/ 0 h 25"/>
                <a:gd name="T20" fmla="*/ 31 w 52"/>
                <a:gd name="T21" fmla="*/ 0 h 25"/>
                <a:gd name="T22" fmla="*/ 23 w 52"/>
                <a:gd name="T23" fmla="*/ 1 h 25"/>
                <a:gd name="T24" fmla="*/ 16 w 52"/>
                <a:gd name="T25" fmla="*/ 3 h 25"/>
                <a:gd name="T26" fmla="*/ 11 w 52"/>
                <a:gd name="T27" fmla="*/ 6 h 25"/>
                <a:gd name="T28" fmla="*/ 5 w 52"/>
                <a:gd name="T29" fmla="*/ 10 h 25"/>
                <a:gd name="T30" fmla="*/ 2 w 52"/>
                <a:gd name="T31" fmla="*/ 16 h 25"/>
                <a:gd name="T32" fmla="*/ 0 w 52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0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6 h 13"/>
                <a:gd name="T4" fmla="*/ 0 w 33"/>
                <a:gd name="T5" fmla="*/ 13 h 13"/>
                <a:gd name="T6" fmla="*/ 9 w 33"/>
                <a:gd name="T7" fmla="*/ 13 h 13"/>
                <a:gd name="T8" fmla="*/ 16 w 33"/>
                <a:gd name="T9" fmla="*/ 13 h 13"/>
                <a:gd name="T10" fmla="*/ 24 w 33"/>
                <a:gd name="T11" fmla="*/ 11 h 13"/>
                <a:gd name="T12" fmla="*/ 33 w 33"/>
                <a:gd name="T13" fmla="*/ 6 h 13"/>
                <a:gd name="T14" fmla="*/ 24 w 33"/>
                <a:gd name="T15" fmla="*/ 3 h 13"/>
                <a:gd name="T16" fmla="*/ 16 w 33"/>
                <a:gd name="T17" fmla="*/ 1 h 13"/>
                <a:gd name="T18" fmla="*/ 9 w 33"/>
                <a:gd name="T19" fmla="*/ 0 h 13"/>
                <a:gd name="T20" fmla="*/ 0 w 33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0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6 w 67"/>
                <a:gd name="T1" fmla="*/ 18 h 86"/>
                <a:gd name="T2" fmla="*/ 0 w 67"/>
                <a:gd name="T3" fmla="*/ 0 h 86"/>
                <a:gd name="T4" fmla="*/ 26 w 67"/>
                <a:gd name="T5" fmla="*/ 0 h 86"/>
                <a:gd name="T6" fmla="*/ 29 w 67"/>
                <a:gd name="T7" fmla="*/ 4 h 86"/>
                <a:gd name="T8" fmla="*/ 33 w 67"/>
                <a:gd name="T9" fmla="*/ 8 h 86"/>
                <a:gd name="T10" fmla="*/ 36 w 67"/>
                <a:gd name="T11" fmla="*/ 11 h 86"/>
                <a:gd name="T12" fmla="*/ 39 w 67"/>
                <a:gd name="T13" fmla="*/ 14 h 86"/>
                <a:gd name="T14" fmla="*/ 47 w 67"/>
                <a:gd name="T15" fmla="*/ 17 h 86"/>
                <a:gd name="T16" fmla="*/ 54 w 67"/>
                <a:gd name="T17" fmla="*/ 18 h 86"/>
                <a:gd name="T18" fmla="*/ 58 w 67"/>
                <a:gd name="T19" fmla="*/ 30 h 86"/>
                <a:gd name="T20" fmla="*/ 62 w 67"/>
                <a:gd name="T21" fmla="*/ 40 h 86"/>
                <a:gd name="T22" fmla="*/ 63 w 67"/>
                <a:gd name="T23" fmla="*/ 45 h 86"/>
                <a:gd name="T24" fmla="*/ 66 w 67"/>
                <a:gd name="T25" fmla="*/ 50 h 86"/>
                <a:gd name="T26" fmla="*/ 66 w 67"/>
                <a:gd name="T27" fmla="*/ 55 h 86"/>
                <a:gd name="T28" fmla="*/ 67 w 67"/>
                <a:gd name="T29" fmla="*/ 61 h 86"/>
                <a:gd name="T30" fmla="*/ 63 w 67"/>
                <a:gd name="T31" fmla="*/ 74 h 86"/>
                <a:gd name="T32" fmla="*/ 60 w 67"/>
                <a:gd name="T33" fmla="*/ 86 h 86"/>
                <a:gd name="T34" fmla="*/ 55 w 67"/>
                <a:gd name="T35" fmla="*/ 69 h 86"/>
                <a:gd name="T36" fmla="*/ 51 w 67"/>
                <a:gd name="T37" fmla="*/ 54 h 86"/>
                <a:gd name="T38" fmla="*/ 50 w 67"/>
                <a:gd name="T39" fmla="*/ 47 h 86"/>
                <a:gd name="T40" fmla="*/ 50 w 67"/>
                <a:gd name="T41" fmla="*/ 41 h 86"/>
                <a:gd name="T42" fmla="*/ 51 w 67"/>
                <a:gd name="T43" fmla="*/ 35 h 86"/>
                <a:gd name="T44" fmla="*/ 54 w 67"/>
                <a:gd name="T45" fmla="*/ 30 h 86"/>
                <a:gd name="T46" fmla="*/ 44 w 67"/>
                <a:gd name="T47" fmla="*/ 30 h 86"/>
                <a:gd name="T48" fmla="*/ 35 w 67"/>
                <a:gd name="T49" fmla="*/ 29 h 86"/>
                <a:gd name="T50" fmla="*/ 32 w 67"/>
                <a:gd name="T51" fmla="*/ 27 h 86"/>
                <a:gd name="T52" fmla="*/ 28 w 67"/>
                <a:gd name="T53" fmla="*/ 25 h 86"/>
                <a:gd name="T54" fmla="*/ 27 w 67"/>
                <a:gd name="T55" fmla="*/ 22 h 86"/>
                <a:gd name="T56" fmla="*/ 26 w 67"/>
                <a:gd name="T57" fmla="*/ 1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1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27 w 49"/>
                <a:gd name="T1" fmla="*/ 12 h 86"/>
                <a:gd name="T2" fmla="*/ 20 w 49"/>
                <a:gd name="T3" fmla="*/ 6 h 86"/>
                <a:gd name="T4" fmla="*/ 14 w 49"/>
                <a:gd name="T5" fmla="*/ 0 h 86"/>
                <a:gd name="T6" fmla="*/ 9 w 49"/>
                <a:gd name="T7" fmla="*/ 5 h 86"/>
                <a:gd name="T8" fmla="*/ 5 w 49"/>
                <a:gd name="T9" fmla="*/ 13 h 86"/>
                <a:gd name="T10" fmla="*/ 1 w 49"/>
                <a:gd name="T11" fmla="*/ 21 h 86"/>
                <a:gd name="T12" fmla="*/ 0 w 49"/>
                <a:gd name="T13" fmla="*/ 30 h 86"/>
                <a:gd name="T14" fmla="*/ 0 w 49"/>
                <a:gd name="T15" fmla="*/ 36 h 86"/>
                <a:gd name="T16" fmla="*/ 3 w 49"/>
                <a:gd name="T17" fmla="*/ 43 h 86"/>
                <a:gd name="T18" fmla="*/ 5 w 49"/>
                <a:gd name="T19" fmla="*/ 50 h 86"/>
                <a:gd name="T20" fmla="*/ 8 w 49"/>
                <a:gd name="T21" fmla="*/ 58 h 86"/>
                <a:gd name="T22" fmla="*/ 12 w 49"/>
                <a:gd name="T23" fmla="*/ 66 h 86"/>
                <a:gd name="T24" fmla="*/ 17 w 49"/>
                <a:gd name="T25" fmla="*/ 74 h 86"/>
                <a:gd name="T26" fmla="*/ 22 w 49"/>
                <a:gd name="T27" fmla="*/ 80 h 86"/>
                <a:gd name="T28" fmla="*/ 27 w 49"/>
                <a:gd name="T29" fmla="*/ 86 h 86"/>
                <a:gd name="T30" fmla="*/ 31 w 49"/>
                <a:gd name="T31" fmla="*/ 79 h 86"/>
                <a:gd name="T32" fmla="*/ 37 w 49"/>
                <a:gd name="T33" fmla="*/ 69 h 86"/>
                <a:gd name="T34" fmla="*/ 42 w 49"/>
                <a:gd name="T35" fmla="*/ 57 h 86"/>
                <a:gd name="T36" fmla="*/ 46 w 49"/>
                <a:gd name="T37" fmla="*/ 45 h 86"/>
                <a:gd name="T38" fmla="*/ 49 w 49"/>
                <a:gd name="T39" fmla="*/ 39 h 86"/>
                <a:gd name="T40" fmla="*/ 49 w 49"/>
                <a:gd name="T41" fmla="*/ 33 h 86"/>
                <a:gd name="T42" fmla="*/ 49 w 49"/>
                <a:gd name="T43" fmla="*/ 26 h 86"/>
                <a:gd name="T44" fmla="*/ 48 w 49"/>
                <a:gd name="T45" fmla="*/ 22 h 86"/>
                <a:gd name="T46" fmla="*/ 44 w 49"/>
                <a:gd name="T47" fmla="*/ 18 h 86"/>
                <a:gd name="T48" fmla="*/ 40 w 49"/>
                <a:gd name="T49" fmla="*/ 15 h 86"/>
                <a:gd name="T50" fmla="*/ 34 w 49"/>
                <a:gd name="T51" fmla="*/ 13 h 86"/>
                <a:gd name="T52" fmla="*/ 27 w 49"/>
                <a:gd name="T53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1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4 w 6"/>
                <a:gd name="T5" fmla="*/ 0 h 12"/>
                <a:gd name="T6" fmla="*/ 2 w 6"/>
                <a:gd name="T7" fmla="*/ 2 h 12"/>
                <a:gd name="T8" fmla="*/ 1 w 6"/>
                <a:gd name="T9" fmla="*/ 4 h 12"/>
                <a:gd name="T10" fmla="*/ 0 w 6"/>
                <a:gd name="T11" fmla="*/ 6 h 12"/>
                <a:gd name="T12" fmla="*/ 0 w 6"/>
                <a:gd name="T13" fmla="*/ 10 h 12"/>
                <a:gd name="T14" fmla="*/ 0 w 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1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1 w 39"/>
                <a:gd name="T3" fmla="*/ 9 h 48"/>
                <a:gd name="T4" fmla="*/ 22 w 39"/>
                <a:gd name="T5" fmla="*/ 17 h 48"/>
                <a:gd name="T6" fmla="*/ 32 w 39"/>
                <a:gd name="T7" fmla="*/ 24 h 48"/>
                <a:gd name="T8" fmla="*/ 39 w 39"/>
                <a:gd name="T9" fmla="*/ 30 h 48"/>
                <a:gd name="T10" fmla="*/ 36 w 39"/>
                <a:gd name="T11" fmla="*/ 39 h 48"/>
                <a:gd name="T12" fmla="*/ 33 w 39"/>
                <a:gd name="T13" fmla="*/ 48 h 48"/>
                <a:gd name="T14" fmla="*/ 18 w 39"/>
                <a:gd name="T15" fmla="*/ 36 h 48"/>
                <a:gd name="T16" fmla="*/ 8 w 39"/>
                <a:gd name="T17" fmla="*/ 26 h 48"/>
                <a:gd name="T18" fmla="*/ 4 w 39"/>
                <a:gd name="T19" fmla="*/ 21 h 48"/>
                <a:gd name="T20" fmla="*/ 2 w 39"/>
                <a:gd name="T21" fmla="*/ 15 h 48"/>
                <a:gd name="T22" fmla="*/ 0 w 39"/>
                <a:gd name="T23" fmla="*/ 8 h 48"/>
                <a:gd name="T24" fmla="*/ 0 w 3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1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7 w 16"/>
                <a:gd name="T1" fmla="*/ 0 h 43"/>
                <a:gd name="T2" fmla="*/ 11 w 16"/>
                <a:gd name="T3" fmla="*/ 9 h 43"/>
                <a:gd name="T4" fmla="*/ 15 w 16"/>
                <a:gd name="T5" fmla="*/ 16 h 43"/>
                <a:gd name="T6" fmla="*/ 16 w 16"/>
                <a:gd name="T7" fmla="*/ 22 h 43"/>
                <a:gd name="T8" fmla="*/ 16 w 16"/>
                <a:gd name="T9" fmla="*/ 27 h 43"/>
                <a:gd name="T10" fmla="*/ 15 w 16"/>
                <a:gd name="T11" fmla="*/ 31 h 43"/>
                <a:gd name="T12" fmla="*/ 11 w 16"/>
                <a:gd name="T13" fmla="*/ 35 h 43"/>
                <a:gd name="T14" fmla="*/ 7 w 16"/>
                <a:gd name="T15" fmla="*/ 39 h 43"/>
                <a:gd name="T16" fmla="*/ 0 w 16"/>
                <a:gd name="T17" fmla="*/ 43 h 43"/>
                <a:gd name="T18" fmla="*/ 2 w 16"/>
                <a:gd name="T19" fmla="*/ 28 h 43"/>
                <a:gd name="T20" fmla="*/ 4 w 16"/>
                <a:gd name="T21" fmla="*/ 18 h 43"/>
                <a:gd name="T22" fmla="*/ 6 w 16"/>
                <a:gd name="T23" fmla="*/ 9 h 43"/>
                <a:gd name="T24" fmla="*/ 7 w 16"/>
                <a:gd name="T2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1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24 w 24"/>
                <a:gd name="T1" fmla="*/ 36 h 37"/>
                <a:gd name="T2" fmla="*/ 19 w 24"/>
                <a:gd name="T3" fmla="*/ 27 h 37"/>
                <a:gd name="T4" fmla="*/ 15 w 24"/>
                <a:gd name="T5" fmla="*/ 18 h 37"/>
                <a:gd name="T6" fmla="*/ 12 w 24"/>
                <a:gd name="T7" fmla="*/ 9 h 37"/>
                <a:gd name="T8" fmla="*/ 11 w 24"/>
                <a:gd name="T9" fmla="*/ 0 h 37"/>
                <a:gd name="T10" fmla="*/ 6 w 24"/>
                <a:gd name="T11" fmla="*/ 10 h 37"/>
                <a:gd name="T12" fmla="*/ 3 w 24"/>
                <a:gd name="T13" fmla="*/ 19 h 37"/>
                <a:gd name="T14" fmla="*/ 1 w 24"/>
                <a:gd name="T15" fmla="*/ 26 h 37"/>
                <a:gd name="T16" fmla="*/ 0 w 24"/>
                <a:gd name="T17" fmla="*/ 31 h 37"/>
                <a:gd name="T18" fmla="*/ 1 w 24"/>
                <a:gd name="T19" fmla="*/ 33 h 37"/>
                <a:gd name="T20" fmla="*/ 2 w 24"/>
                <a:gd name="T21" fmla="*/ 35 h 37"/>
                <a:gd name="T22" fmla="*/ 4 w 24"/>
                <a:gd name="T23" fmla="*/ 36 h 37"/>
                <a:gd name="T24" fmla="*/ 6 w 24"/>
                <a:gd name="T25" fmla="*/ 37 h 37"/>
                <a:gd name="T26" fmla="*/ 14 w 24"/>
                <a:gd name="T27" fmla="*/ 37 h 37"/>
                <a:gd name="T28" fmla="*/ 24 w 24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1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34 w 34"/>
                <a:gd name="T1" fmla="*/ 0 h 55"/>
                <a:gd name="T2" fmla="*/ 34 w 34"/>
                <a:gd name="T3" fmla="*/ 13 h 55"/>
                <a:gd name="T4" fmla="*/ 34 w 34"/>
                <a:gd name="T5" fmla="*/ 25 h 55"/>
                <a:gd name="T6" fmla="*/ 33 w 34"/>
                <a:gd name="T7" fmla="*/ 32 h 55"/>
                <a:gd name="T8" fmla="*/ 31 w 34"/>
                <a:gd name="T9" fmla="*/ 38 h 55"/>
                <a:gd name="T10" fmla="*/ 29 w 34"/>
                <a:gd name="T11" fmla="*/ 43 h 55"/>
                <a:gd name="T12" fmla="*/ 24 w 34"/>
                <a:gd name="T13" fmla="*/ 47 h 55"/>
                <a:gd name="T14" fmla="*/ 20 w 34"/>
                <a:gd name="T15" fmla="*/ 51 h 55"/>
                <a:gd name="T16" fmla="*/ 14 w 34"/>
                <a:gd name="T17" fmla="*/ 53 h 55"/>
                <a:gd name="T18" fmla="*/ 8 w 34"/>
                <a:gd name="T19" fmla="*/ 55 h 55"/>
                <a:gd name="T20" fmla="*/ 0 w 34"/>
                <a:gd name="T21" fmla="*/ 55 h 55"/>
                <a:gd name="T22" fmla="*/ 9 w 34"/>
                <a:gd name="T23" fmla="*/ 36 h 55"/>
                <a:gd name="T24" fmla="*/ 14 w 34"/>
                <a:gd name="T25" fmla="*/ 21 h 55"/>
                <a:gd name="T26" fmla="*/ 18 w 34"/>
                <a:gd name="T27" fmla="*/ 16 h 55"/>
                <a:gd name="T28" fmla="*/ 22 w 34"/>
                <a:gd name="T29" fmla="*/ 10 h 55"/>
                <a:gd name="T30" fmla="*/ 28 w 34"/>
                <a:gd name="T31" fmla="*/ 5 h 55"/>
                <a:gd name="T32" fmla="*/ 34 w 34"/>
                <a:gd name="T3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1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2 w 33"/>
                <a:gd name="T3" fmla="*/ 4 h 12"/>
                <a:gd name="T4" fmla="*/ 6 w 33"/>
                <a:gd name="T5" fmla="*/ 7 h 12"/>
                <a:gd name="T6" fmla="*/ 10 w 33"/>
                <a:gd name="T7" fmla="*/ 9 h 12"/>
                <a:gd name="T8" fmla="*/ 14 w 33"/>
                <a:gd name="T9" fmla="*/ 11 h 12"/>
                <a:gd name="T10" fmla="*/ 23 w 33"/>
                <a:gd name="T11" fmla="*/ 12 h 12"/>
                <a:gd name="T12" fmla="*/ 33 w 33"/>
                <a:gd name="T13" fmla="*/ 12 h 12"/>
                <a:gd name="T14" fmla="*/ 28 w 33"/>
                <a:gd name="T15" fmla="*/ 8 h 12"/>
                <a:gd name="T16" fmla="*/ 19 w 33"/>
                <a:gd name="T17" fmla="*/ 4 h 12"/>
                <a:gd name="T18" fmla="*/ 10 w 33"/>
                <a:gd name="T19" fmla="*/ 1 h 12"/>
                <a:gd name="T20" fmla="*/ 0 w 3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117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>
              <a:gd name="T0" fmla="*/ 0 w 33"/>
              <a:gd name="T1" fmla="*/ 62 h 62"/>
              <a:gd name="T2" fmla="*/ 0 w 33"/>
              <a:gd name="T3" fmla="*/ 53 h 62"/>
              <a:gd name="T4" fmla="*/ 0 w 33"/>
              <a:gd name="T5" fmla="*/ 45 h 62"/>
              <a:gd name="T6" fmla="*/ 0 w 33"/>
              <a:gd name="T7" fmla="*/ 37 h 62"/>
              <a:gd name="T8" fmla="*/ 0 w 33"/>
              <a:gd name="T9" fmla="*/ 31 h 62"/>
              <a:gd name="T10" fmla="*/ 0 w 33"/>
              <a:gd name="T11" fmla="*/ 26 h 62"/>
              <a:gd name="T12" fmla="*/ 2 w 33"/>
              <a:gd name="T13" fmla="*/ 22 h 62"/>
              <a:gd name="T14" fmla="*/ 4 w 33"/>
              <a:gd name="T15" fmla="*/ 17 h 62"/>
              <a:gd name="T16" fmla="*/ 8 w 33"/>
              <a:gd name="T17" fmla="*/ 13 h 62"/>
              <a:gd name="T18" fmla="*/ 14 w 33"/>
              <a:gd name="T19" fmla="*/ 6 h 62"/>
              <a:gd name="T20" fmla="*/ 20 w 33"/>
              <a:gd name="T21" fmla="*/ 0 h 62"/>
              <a:gd name="T22" fmla="*/ 26 w 33"/>
              <a:gd name="T23" fmla="*/ 6 h 62"/>
              <a:gd name="T24" fmla="*/ 33 w 33"/>
              <a:gd name="T25" fmla="*/ 1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18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>
              <a:gd name="T0" fmla="*/ 0 w 26"/>
              <a:gd name="T1" fmla="*/ 18 h 18"/>
              <a:gd name="T2" fmla="*/ 0 w 26"/>
              <a:gd name="T3" fmla="*/ 0 h 18"/>
              <a:gd name="T4" fmla="*/ 26 w 26"/>
              <a:gd name="T5" fmla="*/ 0 h 18"/>
              <a:gd name="T6" fmla="*/ 6 w 26"/>
              <a:gd name="T7" fmla="*/ 12 h 18"/>
              <a:gd name="T8" fmla="*/ 6 w 26"/>
              <a:gd name="T9" fmla="*/ 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19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>
              <a:gd name="T0" fmla="*/ 180 w 180"/>
              <a:gd name="T1" fmla="*/ 222 h 240"/>
              <a:gd name="T2" fmla="*/ 175 w 180"/>
              <a:gd name="T3" fmla="*/ 223 h 240"/>
              <a:gd name="T4" fmla="*/ 171 w 180"/>
              <a:gd name="T5" fmla="*/ 223 h 240"/>
              <a:gd name="T6" fmla="*/ 167 w 180"/>
              <a:gd name="T7" fmla="*/ 225 h 240"/>
              <a:gd name="T8" fmla="*/ 164 w 180"/>
              <a:gd name="T9" fmla="*/ 227 h 240"/>
              <a:gd name="T10" fmla="*/ 158 w 180"/>
              <a:gd name="T11" fmla="*/ 232 h 240"/>
              <a:gd name="T12" fmla="*/ 153 w 180"/>
              <a:gd name="T13" fmla="*/ 240 h 240"/>
              <a:gd name="T14" fmla="*/ 140 w 180"/>
              <a:gd name="T15" fmla="*/ 232 h 240"/>
              <a:gd name="T16" fmla="*/ 131 w 180"/>
              <a:gd name="T17" fmla="*/ 223 h 240"/>
              <a:gd name="T18" fmla="*/ 123 w 180"/>
              <a:gd name="T19" fmla="*/ 214 h 240"/>
              <a:gd name="T20" fmla="*/ 118 w 180"/>
              <a:gd name="T21" fmla="*/ 206 h 240"/>
              <a:gd name="T22" fmla="*/ 112 w 180"/>
              <a:gd name="T23" fmla="*/ 195 h 240"/>
              <a:gd name="T24" fmla="*/ 106 w 180"/>
              <a:gd name="T25" fmla="*/ 185 h 240"/>
              <a:gd name="T26" fmla="*/ 98 w 180"/>
              <a:gd name="T27" fmla="*/ 174 h 240"/>
              <a:gd name="T28" fmla="*/ 87 w 180"/>
              <a:gd name="T29" fmla="*/ 161 h 240"/>
              <a:gd name="T30" fmla="*/ 82 w 180"/>
              <a:gd name="T31" fmla="*/ 153 h 240"/>
              <a:gd name="T32" fmla="*/ 75 w 180"/>
              <a:gd name="T33" fmla="*/ 146 h 240"/>
              <a:gd name="T34" fmla="*/ 70 w 180"/>
              <a:gd name="T35" fmla="*/ 139 h 240"/>
              <a:gd name="T36" fmla="*/ 62 w 180"/>
              <a:gd name="T37" fmla="*/ 133 h 240"/>
              <a:gd name="T38" fmla="*/ 48 w 180"/>
              <a:gd name="T39" fmla="*/ 121 h 240"/>
              <a:gd name="T40" fmla="*/ 33 w 180"/>
              <a:gd name="T41" fmla="*/ 110 h 240"/>
              <a:gd name="T42" fmla="*/ 27 w 180"/>
              <a:gd name="T43" fmla="*/ 104 h 240"/>
              <a:gd name="T44" fmla="*/ 21 w 180"/>
              <a:gd name="T45" fmla="*/ 98 h 240"/>
              <a:gd name="T46" fmla="*/ 15 w 180"/>
              <a:gd name="T47" fmla="*/ 92 h 240"/>
              <a:gd name="T48" fmla="*/ 10 w 180"/>
              <a:gd name="T49" fmla="*/ 84 h 240"/>
              <a:gd name="T50" fmla="*/ 6 w 180"/>
              <a:gd name="T51" fmla="*/ 77 h 240"/>
              <a:gd name="T52" fmla="*/ 4 w 180"/>
              <a:gd name="T53" fmla="*/ 68 h 240"/>
              <a:gd name="T54" fmla="*/ 1 w 180"/>
              <a:gd name="T55" fmla="*/ 60 h 240"/>
              <a:gd name="T56" fmla="*/ 0 w 180"/>
              <a:gd name="T57" fmla="*/ 50 h 240"/>
              <a:gd name="T58" fmla="*/ 0 w 180"/>
              <a:gd name="T59" fmla="*/ 35 h 240"/>
              <a:gd name="T60" fmla="*/ 0 w 180"/>
              <a:gd name="T61" fmla="*/ 25 h 240"/>
              <a:gd name="T62" fmla="*/ 0 w 180"/>
              <a:gd name="T63" fmla="*/ 15 h 240"/>
              <a:gd name="T64" fmla="*/ 0 w 180"/>
              <a:gd name="T65" fmla="*/ 0 h 240"/>
              <a:gd name="T66" fmla="*/ 10 w 180"/>
              <a:gd name="T67" fmla="*/ 8 h 240"/>
              <a:gd name="T68" fmla="*/ 19 w 180"/>
              <a:gd name="T69" fmla="*/ 17 h 240"/>
              <a:gd name="T70" fmla="*/ 27 w 180"/>
              <a:gd name="T71" fmla="*/ 27 h 240"/>
              <a:gd name="T72" fmla="*/ 34 w 180"/>
              <a:gd name="T73" fmla="*/ 38 h 240"/>
              <a:gd name="T74" fmla="*/ 41 w 180"/>
              <a:gd name="T75" fmla="*/ 48 h 240"/>
              <a:gd name="T76" fmla="*/ 46 w 180"/>
              <a:gd name="T77" fmla="*/ 58 h 240"/>
              <a:gd name="T78" fmla="*/ 51 w 180"/>
              <a:gd name="T79" fmla="*/ 66 h 240"/>
              <a:gd name="T80" fmla="*/ 54 w 180"/>
              <a:gd name="T81" fmla="*/ 74 h 240"/>
              <a:gd name="T82" fmla="*/ 60 w 180"/>
              <a:gd name="T83" fmla="*/ 86 h 240"/>
              <a:gd name="T84" fmla="*/ 66 w 180"/>
              <a:gd name="T85" fmla="*/ 98 h 240"/>
              <a:gd name="T86" fmla="*/ 74 w 180"/>
              <a:gd name="T87" fmla="*/ 107 h 240"/>
              <a:gd name="T88" fmla="*/ 82 w 180"/>
              <a:gd name="T89" fmla="*/ 116 h 240"/>
              <a:gd name="T90" fmla="*/ 100 w 180"/>
              <a:gd name="T91" fmla="*/ 133 h 240"/>
              <a:gd name="T92" fmla="*/ 119 w 180"/>
              <a:gd name="T93" fmla="*/ 149 h 240"/>
              <a:gd name="T94" fmla="*/ 139 w 180"/>
              <a:gd name="T95" fmla="*/ 164 h 240"/>
              <a:gd name="T96" fmla="*/ 155 w 180"/>
              <a:gd name="T97" fmla="*/ 180 h 240"/>
              <a:gd name="T98" fmla="*/ 163 w 180"/>
              <a:gd name="T99" fmla="*/ 189 h 240"/>
              <a:gd name="T100" fmla="*/ 169 w 180"/>
              <a:gd name="T101" fmla="*/ 199 h 240"/>
              <a:gd name="T102" fmla="*/ 175 w 180"/>
              <a:gd name="T103" fmla="*/ 210 h 240"/>
              <a:gd name="T104" fmla="*/ 180 w 180"/>
              <a:gd name="T105" fmla="*/ 222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20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1 w 27"/>
              <a:gd name="T3" fmla="*/ 5 h 30"/>
              <a:gd name="T4" fmla="*/ 3 w 27"/>
              <a:gd name="T5" fmla="*/ 11 h 30"/>
              <a:gd name="T6" fmla="*/ 4 w 27"/>
              <a:gd name="T7" fmla="*/ 14 h 30"/>
              <a:gd name="T8" fmla="*/ 4 w 27"/>
              <a:gd name="T9" fmla="*/ 19 h 30"/>
              <a:gd name="T10" fmla="*/ 3 w 27"/>
              <a:gd name="T11" fmla="*/ 24 h 30"/>
              <a:gd name="T12" fmla="*/ 0 w 27"/>
              <a:gd name="T13" fmla="*/ 30 h 30"/>
              <a:gd name="T14" fmla="*/ 17 w 27"/>
              <a:gd name="T15" fmla="*/ 27 h 30"/>
              <a:gd name="T16" fmla="*/ 27 w 27"/>
              <a:gd name="T17" fmla="*/ 24 h 30"/>
              <a:gd name="T18" fmla="*/ 23 w 27"/>
              <a:gd name="T19" fmla="*/ 20 h 30"/>
              <a:gd name="T20" fmla="*/ 17 w 27"/>
              <a:gd name="T21" fmla="*/ 12 h 30"/>
              <a:gd name="T22" fmla="*/ 11 w 27"/>
              <a:gd name="T23" fmla="*/ 8 h 30"/>
              <a:gd name="T24" fmla="*/ 7 w 27"/>
              <a:gd name="T25" fmla="*/ 4 h 30"/>
              <a:gd name="T26" fmla="*/ 4 w 27"/>
              <a:gd name="T27" fmla="*/ 1 h 30"/>
              <a:gd name="T28" fmla="*/ 0 w 27"/>
              <a:gd name="T29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121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</p:grpSpPr>
        <p:sp>
          <p:nvSpPr>
            <p:cNvPr id="2122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1 h 33"/>
                <a:gd name="T2" fmla="*/ 4 w 53"/>
                <a:gd name="T3" fmla="*/ 26 h 33"/>
                <a:gd name="T4" fmla="*/ 8 w 53"/>
                <a:gd name="T5" fmla="*/ 21 h 33"/>
                <a:gd name="T6" fmla="*/ 15 w 53"/>
                <a:gd name="T7" fmla="*/ 16 h 33"/>
                <a:gd name="T8" fmla="*/ 21 w 53"/>
                <a:gd name="T9" fmla="*/ 11 h 33"/>
                <a:gd name="T10" fmla="*/ 29 w 53"/>
                <a:gd name="T11" fmla="*/ 7 h 33"/>
                <a:gd name="T12" fmla="*/ 38 w 53"/>
                <a:gd name="T13" fmla="*/ 3 h 33"/>
                <a:gd name="T14" fmla="*/ 45 w 53"/>
                <a:gd name="T15" fmla="*/ 1 h 33"/>
                <a:gd name="T16" fmla="*/ 53 w 53"/>
                <a:gd name="T17" fmla="*/ 0 h 33"/>
                <a:gd name="T18" fmla="*/ 53 w 53"/>
                <a:gd name="T19" fmla="*/ 18 h 33"/>
                <a:gd name="T20" fmla="*/ 38 w 53"/>
                <a:gd name="T21" fmla="*/ 24 h 33"/>
                <a:gd name="T22" fmla="*/ 27 w 53"/>
                <a:gd name="T23" fmla="*/ 30 h 33"/>
                <a:gd name="T24" fmla="*/ 21 w 53"/>
                <a:gd name="T25" fmla="*/ 32 h 33"/>
                <a:gd name="T26" fmla="*/ 16 w 53"/>
                <a:gd name="T27" fmla="*/ 33 h 33"/>
                <a:gd name="T28" fmla="*/ 9 w 53"/>
                <a:gd name="T29" fmla="*/ 33 h 33"/>
                <a:gd name="T30" fmla="*/ 0 w 53"/>
                <a:gd name="T31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23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24 w 631"/>
                <a:gd name="T1" fmla="*/ 296 h 358"/>
                <a:gd name="T2" fmla="*/ 50 w 631"/>
                <a:gd name="T3" fmla="*/ 290 h 358"/>
                <a:gd name="T4" fmla="*/ 65 w 631"/>
                <a:gd name="T5" fmla="*/ 277 h 358"/>
                <a:gd name="T6" fmla="*/ 79 w 631"/>
                <a:gd name="T7" fmla="*/ 253 h 358"/>
                <a:gd name="T8" fmla="*/ 100 w 631"/>
                <a:gd name="T9" fmla="*/ 256 h 358"/>
                <a:gd name="T10" fmla="*/ 126 w 631"/>
                <a:gd name="T11" fmla="*/ 253 h 358"/>
                <a:gd name="T12" fmla="*/ 141 w 631"/>
                <a:gd name="T13" fmla="*/ 247 h 358"/>
                <a:gd name="T14" fmla="*/ 162 w 631"/>
                <a:gd name="T15" fmla="*/ 229 h 358"/>
                <a:gd name="T16" fmla="*/ 180 w 631"/>
                <a:gd name="T17" fmla="*/ 208 h 358"/>
                <a:gd name="T18" fmla="*/ 211 w 631"/>
                <a:gd name="T19" fmla="*/ 192 h 358"/>
                <a:gd name="T20" fmla="*/ 260 w 631"/>
                <a:gd name="T21" fmla="*/ 175 h 358"/>
                <a:gd name="T22" fmla="*/ 329 w 631"/>
                <a:gd name="T23" fmla="*/ 152 h 358"/>
                <a:gd name="T24" fmla="*/ 361 w 631"/>
                <a:gd name="T25" fmla="*/ 137 h 358"/>
                <a:gd name="T26" fmla="*/ 392 w 631"/>
                <a:gd name="T27" fmla="*/ 130 h 358"/>
                <a:gd name="T28" fmla="*/ 406 w 631"/>
                <a:gd name="T29" fmla="*/ 127 h 358"/>
                <a:gd name="T30" fmla="*/ 440 w 631"/>
                <a:gd name="T31" fmla="*/ 107 h 358"/>
                <a:gd name="T32" fmla="*/ 469 w 631"/>
                <a:gd name="T33" fmla="*/ 80 h 358"/>
                <a:gd name="T34" fmla="*/ 478 w 631"/>
                <a:gd name="T35" fmla="*/ 63 h 358"/>
                <a:gd name="T36" fmla="*/ 504 w 631"/>
                <a:gd name="T37" fmla="*/ 58 h 358"/>
                <a:gd name="T38" fmla="*/ 537 w 631"/>
                <a:gd name="T39" fmla="*/ 36 h 358"/>
                <a:gd name="T40" fmla="*/ 568 w 631"/>
                <a:gd name="T41" fmla="*/ 11 h 358"/>
                <a:gd name="T42" fmla="*/ 591 w 631"/>
                <a:gd name="T43" fmla="*/ 0 h 358"/>
                <a:gd name="T44" fmla="*/ 602 w 631"/>
                <a:gd name="T45" fmla="*/ 22 h 358"/>
                <a:gd name="T46" fmla="*/ 617 w 631"/>
                <a:gd name="T47" fmla="*/ 30 h 358"/>
                <a:gd name="T48" fmla="*/ 625 w 631"/>
                <a:gd name="T49" fmla="*/ 46 h 358"/>
                <a:gd name="T50" fmla="*/ 601 w 631"/>
                <a:gd name="T51" fmla="*/ 88 h 358"/>
                <a:gd name="T52" fmla="*/ 568 w 631"/>
                <a:gd name="T53" fmla="*/ 125 h 358"/>
                <a:gd name="T54" fmla="*/ 529 w 631"/>
                <a:gd name="T55" fmla="*/ 154 h 358"/>
                <a:gd name="T56" fmla="*/ 487 w 631"/>
                <a:gd name="T57" fmla="*/ 173 h 358"/>
                <a:gd name="T58" fmla="*/ 445 w 631"/>
                <a:gd name="T59" fmla="*/ 180 h 358"/>
                <a:gd name="T60" fmla="*/ 438 w 631"/>
                <a:gd name="T61" fmla="*/ 197 h 358"/>
                <a:gd name="T62" fmla="*/ 433 w 631"/>
                <a:gd name="T63" fmla="*/ 200 h 358"/>
                <a:gd name="T64" fmla="*/ 395 w 631"/>
                <a:gd name="T65" fmla="*/ 199 h 358"/>
                <a:gd name="T66" fmla="*/ 367 w 631"/>
                <a:gd name="T67" fmla="*/ 210 h 358"/>
                <a:gd name="T68" fmla="*/ 347 w 631"/>
                <a:gd name="T69" fmla="*/ 212 h 358"/>
                <a:gd name="T70" fmla="*/ 338 w 631"/>
                <a:gd name="T71" fmla="*/ 204 h 358"/>
                <a:gd name="T72" fmla="*/ 313 w 631"/>
                <a:gd name="T73" fmla="*/ 241 h 358"/>
                <a:gd name="T74" fmla="*/ 272 w 631"/>
                <a:gd name="T75" fmla="*/ 280 h 358"/>
                <a:gd name="T76" fmla="*/ 220 w 631"/>
                <a:gd name="T77" fmla="*/ 315 h 358"/>
                <a:gd name="T78" fmla="*/ 164 w 631"/>
                <a:gd name="T79" fmla="*/ 343 h 358"/>
                <a:gd name="T80" fmla="*/ 110 w 631"/>
                <a:gd name="T81" fmla="*/ 357 h 358"/>
                <a:gd name="T82" fmla="*/ 71 w 631"/>
                <a:gd name="T83" fmla="*/ 356 h 358"/>
                <a:gd name="T84" fmla="*/ 56 w 631"/>
                <a:gd name="T85" fmla="*/ 348 h 358"/>
                <a:gd name="T86" fmla="*/ 33 w 631"/>
                <a:gd name="T87" fmla="*/ 34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24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0 w 359"/>
                <a:gd name="T1" fmla="*/ 288 h 431"/>
                <a:gd name="T2" fmla="*/ 95 w 359"/>
                <a:gd name="T3" fmla="*/ 269 h 431"/>
                <a:gd name="T4" fmla="*/ 165 w 359"/>
                <a:gd name="T5" fmla="*/ 209 h 431"/>
                <a:gd name="T6" fmla="*/ 172 w 359"/>
                <a:gd name="T7" fmla="*/ 168 h 431"/>
                <a:gd name="T8" fmla="*/ 180 w 359"/>
                <a:gd name="T9" fmla="*/ 149 h 431"/>
                <a:gd name="T10" fmla="*/ 193 w 359"/>
                <a:gd name="T11" fmla="*/ 137 h 431"/>
                <a:gd name="T12" fmla="*/ 190 w 359"/>
                <a:gd name="T13" fmla="*/ 126 h 431"/>
                <a:gd name="T14" fmla="*/ 179 w 359"/>
                <a:gd name="T15" fmla="*/ 94 h 431"/>
                <a:gd name="T16" fmla="*/ 173 w 359"/>
                <a:gd name="T17" fmla="*/ 34 h 431"/>
                <a:gd name="T18" fmla="*/ 182 w 359"/>
                <a:gd name="T19" fmla="*/ 0 h 431"/>
                <a:gd name="T20" fmla="*/ 194 w 359"/>
                <a:gd name="T21" fmla="*/ 11 h 431"/>
                <a:gd name="T22" fmla="*/ 207 w 359"/>
                <a:gd name="T23" fmla="*/ 29 h 431"/>
                <a:gd name="T24" fmla="*/ 231 w 359"/>
                <a:gd name="T25" fmla="*/ 56 h 431"/>
                <a:gd name="T26" fmla="*/ 238 w 359"/>
                <a:gd name="T27" fmla="*/ 73 h 431"/>
                <a:gd name="T28" fmla="*/ 237 w 359"/>
                <a:gd name="T29" fmla="*/ 88 h 431"/>
                <a:gd name="T30" fmla="*/ 226 w 359"/>
                <a:gd name="T31" fmla="*/ 102 h 431"/>
                <a:gd name="T32" fmla="*/ 205 w 359"/>
                <a:gd name="T33" fmla="*/ 120 h 431"/>
                <a:gd name="T34" fmla="*/ 199 w 359"/>
                <a:gd name="T35" fmla="*/ 131 h 431"/>
                <a:gd name="T36" fmla="*/ 199 w 359"/>
                <a:gd name="T37" fmla="*/ 149 h 431"/>
                <a:gd name="T38" fmla="*/ 205 w 359"/>
                <a:gd name="T39" fmla="*/ 159 h 431"/>
                <a:gd name="T40" fmla="*/ 226 w 359"/>
                <a:gd name="T41" fmla="*/ 160 h 431"/>
                <a:gd name="T42" fmla="*/ 233 w 359"/>
                <a:gd name="T43" fmla="*/ 153 h 431"/>
                <a:gd name="T44" fmla="*/ 232 w 359"/>
                <a:gd name="T45" fmla="*/ 135 h 431"/>
                <a:gd name="T46" fmla="*/ 259 w 359"/>
                <a:gd name="T47" fmla="*/ 193 h 431"/>
                <a:gd name="T48" fmla="*/ 271 w 359"/>
                <a:gd name="T49" fmla="*/ 208 h 431"/>
                <a:gd name="T50" fmla="*/ 291 w 359"/>
                <a:gd name="T51" fmla="*/ 219 h 431"/>
                <a:gd name="T52" fmla="*/ 300 w 359"/>
                <a:gd name="T53" fmla="*/ 217 h 431"/>
                <a:gd name="T54" fmla="*/ 312 w 359"/>
                <a:gd name="T55" fmla="*/ 206 h 431"/>
                <a:gd name="T56" fmla="*/ 341 w 359"/>
                <a:gd name="T57" fmla="*/ 194 h 431"/>
                <a:gd name="T58" fmla="*/ 355 w 359"/>
                <a:gd name="T59" fmla="*/ 206 h 431"/>
                <a:gd name="T60" fmla="*/ 342 w 359"/>
                <a:gd name="T61" fmla="*/ 240 h 431"/>
                <a:gd name="T62" fmla="*/ 321 w 359"/>
                <a:gd name="T63" fmla="*/ 261 h 431"/>
                <a:gd name="T64" fmla="*/ 295 w 359"/>
                <a:gd name="T65" fmla="*/ 275 h 431"/>
                <a:gd name="T66" fmla="*/ 247 w 359"/>
                <a:gd name="T67" fmla="*/ 288 h 431"/>
                <a:gd name="T68" fmla="*/ 208 w 359"/>
                <a:gd name="T69" fmla="*/ 299 h 431"/>
                <a:gd name="T70" fmla="*/ 193 w 359"/>
                <a:gd name="T71" fmla="*/ 308 h 431"/>
                <a:gd name="T72" fmla="*/ 179 w 359"/>
                <a:gd name="T73" fmla="*/ 339 h 431"/>
                <a:gd name="T74" fmla="*/ 163 w 359"/>
                <a:gd name="T75" fmla="*/ 356 h 431"/>
                <a:gd name="T76" fmla="*/ 109 w 359"/>
                <a:gd name="T77" fmla="*/ 394 h 431"/>
                <a:gd name="T78" fmla="*/ 48 w 359"/>
                <a:gd name="T79" fmla="*/ 424 h 431"/>
                <a:gd name="T80" fmla="*/ 19 w 359"/>
                <a:gd name="T81" fmla="*/ 431 h 431"/>
                <a:gd name="T82" fmla="*/ 7 w 359"/>
                <a:gd name="T83" fmla="*/ 426 h 431"/>
                <a:gd name="T84" fmla="*/ 1 w 359"/>
                <a:gd name="T85" fmla="*/ 415 h 431"/>
                <a:gd name="T86" fmla="*/ 1 w 359"/>
                <a:gd name="T87" fmla="*/ 402 h 431"/>
                <a:gd name="T88" fmla="*/ 9 w 359"/>
                <a:gd name="T89" fmla="*/ 391 h 431"/>
                <a:gd name="T90" fmla="*/ 56 w 359"/>
                <a:gd name="T91" fmla="*/ 374 h 431"/>
                <a:gd name="T92" fmla="*/ 73 w 359"/>
                <a:gd name="T93" fmla="*/ 351 h 431"/>
                <a:gd name="T94" fmla="*/ 71 w 359"/>
                <a:gd name="T95" fmla="*/ 335 h 431"/>
                <a:gd name="T96" fmla="*/ 64 w 359"/>
                <a:gd name="T97" fmla="*/ 326 h 431"/>
                <a:gd name="T98" fmla="*/ 51 w 359"/>
                <a:gd name="T99" fmla="*/ 320 h 431"/>
                <a:gd name="T100" fmla="*/ 19 w 359"/>
                <a:gd name="T101" fmla="*/ 32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125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>
              <a:gd name="T0" fmla="*/ 0 w 21"/>
              <a:gd name="T1" fmla="*/ 43 h 62"/>
              <a:gd name="T2" fmla="*/ 1 w 21"/>
              <a:gd name="T3" fmla="*/ 29 h 62"/>
              <a:gd name="T4" fmla="*/ 3 w 21"/>
              <a:gd name="T5" fmla="*/ 17 h 62"/>
              <a:gd name="T6" fmla="*/ 4 w 21"/>
              <a:gd name="T7" fmla="*/ 11 h 62"/>
              <a:gd name="T8" fmla="*/ 6 w 21"/>
              <a:gd name="T9" fmla="*/ 7 h 62"/>
              <a:gd name="T10" fmla="*/ 9 w 21"/>
              <a:gd name="T11" fmla="*/ 3 h 62"/>
              <a:gd name="T12" fmla="*/ 15 w 21"/>
              <a:gd name="T13" fmla="*/ 0 h 62"/>
              <a:gd name="T14" fmla="*/ 15 w 21"/>
              <a:gd name="T15" fmla="*/ 15 h 62"/>
              <a:gd name="T16" fmla="*/ 18 w 21"/>
              <a:gd name="T17" fmla="*/ 31 h 62"/>
              <a:gd name="T18" fmla="*/ 20 w 21"/>
              <a:gd name="T19" fmla="*/ 44 h 62"/>
              <a:gd name="T20" fmla="*/ 21 w 21"/>
              <a:gd name="T21" fmla="*/ 49 h 62"/>
              <a:gd name="T22" fmla="*/ 10 w 21"/>
              <a:gd name="T23" fmla="*/ 55 h 62"/>
              <a:gd name="T24" fmla="*/ 0 w 21"/>
              <a:gd name="T25" fmla="*/ 62 h 62"/>
              <a:gd name="T26" fmla="*/ 0 w 21"/>
              <a:gd name="T27" fmla="*/ 4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26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5 w 33"/>
              <a:gd name="T3" fmla="*/ 5 h 24"/>
              <a:gd name="T4" fmla="*/ 10 w 33"/>
              <a:gd name="T5" fmla="*/ 10 h 24"/>
              <a:gd name="T6" fmla="*/ 11 w 33"/>
              <a:gd name="T7" fmla="*/ 13 h 24"/>
              <a:gd name="T8" fmla="*/ 12 w 33"/>
              <a:gd name="T9" fmla="*/ 16 h 24"/>
              <a:gd name="T10" fmla="*/ 13 w 33"/>
              <a:gd name="T11" fmla="*/ 20 h 24"/>
              <a:gd name="T12" fmla="*/ 13 w 33"/>
              <a:gd name="T13" fmla="*/ 24 h 24"/>
              <a:gd name="T14" fmla="*/ 33 w 33"/>
              <a:gd name="T15" fmla="*/ 0 h 24"/>
              <a:gd name="T16" fmla="*/ 24 w 33"/>
              <a:gd name="T17" fmla="*/ 0 h 24"/>
              <a:gd name="T18" fmla="*/ 16 w 33"/>
              <a:gd name="T19" fmla="*/ 0 h 24"/>
              <a:gd name="T20" fmla="*/ 9 w 33"/>
              <a:gd name="T21" fmla="*/ 0 h 24"/>
              <a:gd name="T22" fmla="*/ 0 w 33"/>
              <a:gd name="T2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27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>
              <a:gd name="T0" fmla="*/ 26 w 33"/>
              <a:gd name="T1" fmla="*/ 25 h 25"/>
              <a:gd name="T2" fmla="*/ 29 w 33"/>
              <a:gd name="T3" fmla="*/ 22 h 25"/>
              <a:gd name="T4" fmla="*/ 33 w 33"/>
              <a:gd name="T5" fmla="*/ 18 h 25"/>
              <a:gd name="T6" fmla="*/ 33 w 33"/>
              <a:gd name="T7" fmla="*/ 0 h 25"/>
              <a:gd name="T8" fmla="*/ 25 w 33"/>
              <a:gd name="T9" fmla="*/ 0 h 25"/>
              <a:gd name="T10" fmla="*/ 16 w 33"/>
              <a:gd name="T11" fmla="*/ 0 h 25"/>
              <a:gd name="T12" fmla="*/ 6 w 33"/>
              <a:gd name="T13" fmla="*/ 0 h 25"/>
              <a:gd name="T14" fmla="*/ 0 w 33"/>
              <a:gd name="T15" fmla="*/ 0 h 25"/>
              <a:gd name="T16" fmla="*/ 26 w 33"/>
              <a:gd name="T1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28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>
              <a:gd name="T0" fmla="*/ 0 w 7"/>
              <a:gd name="T1" fmla="*/ 7 w 7"/>
              <a:gd name="T2" fmla="*/ 0 w 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29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>
              <a:gd name="T0" fmla="*/ 16 w 16"/>
              <a:gd name="T1" fmla="*/ 0 h 25"/>
              <a:gd name="T2" fmla="*/ 16 w 16"/>
              <a:gd name="T3" fmla="*/ 6 h 25"/>
              <a:gd name="T4" fmla="*/ 14 w 16"/>
              <a:gd name="T5" fmla="*/ 13 h 25"/>
              <a:gd name="T6" fmla="*/ 13 w 16"/>
              <a:gd name="T7" fmla="*/ 16 h 25"/>
              <a:gd name="T8" fmla="*/ 11 w 16"/>
              <a:gd name="T9" fmla="*/ 20 h 25"/>
              <a:gd name="T10" fmla="*/ 7 w 16"/>
              <a:gd name="T11" fmla="*/ 23 h 25"/>
              <a:gd name="T12" fmla="*/ 3 w 16"/>
              <a:gd name="T13" fmla="*/ 25 h 25"/>
              <a:gd name="T14" fmla="*/ 1 w 16"/>
              <a:gd name="T15" fmla="*/ 24 h 25"/>
              <a:gd name="T16" fmla="*/ 0 w 16"/>
              <a:gd name="T17" fmla="*/ 21 h 25"/>
              <a:gd name="T18" fmla="*/ 1 w 16"/>
              <a:gd name="T19" fmla="*/ 18 h 25"/>
              <a:gd name="T20" fmla="*/ 2 w 16"/>
              <a:gd name="T21" fmla="*/ 13 h 25"/>
              <a:gd name="T22" fmla="*/ 4 w 16"/>
              <a:gd name="T23" fmla="*/ 9 h 25"/>
              <a:gd name="T24" fmla="*/ 7 w 16"/>
              <a:gd name="T25" fmla="*/ 4 h 25"/>
              <a:gd name="T26" fmla="*/ 11 w 16"/>
              <a:gd name="T27" fmla="*/ 1 h 25"/>
              <a:gd name="T28" fmla="*/ 16 w 16"/>
              <a:gd name="T2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30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3 w 14"/>
              <a:gd name="T3" fmla="*/ 1 h 18"/>
              <a:gd name="T4" fmla="*/ 5 w 14"/>
              <a:gd name="T5" fmla="*/ 2 h 18"/>
              <a:gd name="T6" fmla="*/ 7 w 14"/>
              <a:gd name="T7" fmla="*/ 4 h 18"/>
              <a:gd name="T8" fmla="*/ 9 w 14"/>
              <a:gd name="T9" fmla="*/ 7 h 18"/>
              <a:gd name="T10" fmla="*/ 13 w 14"/>
              <a:gd name="T11" fmla="*/ 13 h 18"/>
              <a:gd name="T12" fmla="*/ 14 w 14"/>
              <a:gd name="T13" fmla="*/ 18 h 18"/>
              <a:gd name="T14" fmla="*/ 0 w 14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31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1 w 67"/>
              <a:gd name="T3" fmla="*/ 17 h 74"/>
              <a:gd name="T4" fmla="*/ 3 w 67"/>
              <a:gd name="T5" fmla="*/ 30 h 74"/>
              <a:gd name="T6" fmla="*/ 7 w 67"/>
              <a:gd name="T7" fmla="*/ 41 h 74"/>
              <a:gd name="T8" fmla="*/ 12 w 67"/>
              <a:gd name="T9" fmla="*/ 50 h 74"/>
              <a:gd name="T10" fmla="*/ 17 w 67"/>
              <a:gd name="T11" fmla="*/ 58 h 74"/>
              <a:gd name="T12" fmla="*/ 23 w 67"/>
              <a:gd name="T13" fmla="*/ 64 h 74"/>
              <a:gd name="T14" fmla="*/ 28 w 67"/>
              <a:gd name="T15" fmla="*/ 69 h 74"/>
              <a:gd name="T16" fmla="*/ 33 w 67"/>
              <a:gd name="T17" fmla="*/ 74 h 74"/>
              <a:gd name="T18" fmla="*/ 44 w 67"/>
              <a:gd name="T19" fmla="*/ 65 h 74"/>
              <a:gd name="T20" fmla="*/ 55 w 67"/>
              <a:gd name="T21" fmla="*/ 55 h 74"/>
              <a:gd name="T22" fmla="*/ 59 w 67"/>
              <a:gd name="T23" fmla="*/ 49 h 74"/>
              <a:gd name="T24" fmla="*/ 63 w 67"/>
              <a:gd name="T25" fmla="*/ 43 h 74"/>
              <a:gd name="T26" fmla="*/ 66 w 67"/>
              <a:gd name="T27" fmla="*/ 37 h 74"/>
              <a:gd name="T28" fmla="*/ 67 w 67"/>
              <a:gd name="T29" fmla="*/ 30 h 74"/>
              <a:gd name="T30" fmla="*/ 67 w 67"/>
              <a:gd name="T31" fmla="*/ 25 h 74"/>
              <a:gd name="T32" fmla="*/ 67 w 67"/>
              <a:gd name="T33" fmla="*/ 18 h 74"/>
              <a:gd name="T34" fmla="*/ 67 w 67"/>
              <a:gd name="T35" fmla="*/ 9 h 74"/>
              <a:gd name="T36" fmla="*/ 67 w 67"/>
              <a:gd name="T37" fmla="*/ 0 h 74"/>
              <a:gd name="T38" fmla="*/ 48 w 67"/>
              <a:gd name="T39" fmla="*/ 0 h 74"/>
              <a:gd name="T40" fmla="*/ 33 w 67"/>
              <a:gd name="T41" fmla="*/ 0 h 74"/>
              <a:gd name="T42" fmla="*/ 17 w 67"/>
              <a:gd name="T43" fmla="*/ 0 h 74"/>
              <a:gd name="T44" fmla="*/ 0 w 67"/>
              <a:gd name="T4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32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2 w 34"/>
              <a:gd name="T3" fmla="*/ 3 h 38"/>
              <a:gd name="T4" fmla="*/ 4 w 34"/>
              <a:gd name="T5" fmla="*/ 7 h 38"/>
              <a:gd name="T6" fmla="*/ 5 w 34"/>
              <a:gd name="T7" fmla="*/ 11 h 38"/>
              <a:gd name="T8" fmla="*/ 6 w 34"/>
              <a:gd name="T9" fmla="*/ 16 h 38"/>
              <a:gd name="T10" fmla="*/ 10 w 34"/>
              <a:gd name="T11" fmla="*/ 28 h 38"/>
              <a:gd name="T12" fmla="*/ 13 w 34"/>
              <a:gd name="T13" fmla="*/ 38 h 38"/>
              <a:gd name="T14" fmla="*/ 16 w 34"/>
              <a:gd name="T15" fmla="*/ 37 h 38"/>
              <a:gd name="T16" fmla="*/ 20 w 34"/>
              <a:gd name="T17" fmla="*/ 36 h 38"/>
              <a:gd name="T18" fmla="*/ 23 w 34"/>
              <a:gd name="T19" fmla="*/ 34 h 38"/>
              <a:gd name="T20" fmla="*/ 26 w 34"/>
              <a:gd name="T21" fmla="*/ 31 h 38"/>
              <a:gd name="T22" fmla="*/ 28 w 34"/>
              <a:gd name="T23" fmla="*/ 28 h 38"/>
              <a:gd name="T24" fmla="*/ 32 w 34"/>
              <a:gd name="T25" fmla="*/ 24 h 38"/>
              <a:gd name="T26" fmla="*/ 33 w 34"/>
              <a:gd name="T27" fmla="*/ 21 h 38"/>
              <a:gd name="T28" fmla="*/ 34 w 34"/>
              <a:gd name="T29" fmla="*/ 19 h 38"/>
              <a:gd name="T30" fmla="*/ 31 w 34"/>
              <a:gd name="T31" fmla="*/ 18 h 38"/>
              <a:gd name="T32" fmla="*/ 28 w 34"/>
              <a:gd name="T33" fmla="*/ 17 h 38"/>
              <a:gd name="T34" fmla="*/ 26 w 34"/>
              <a:gd name="T35" fmla="*/ 14 h 38"/>
              <a:gd name="T36" fmla="*/ 24 w 34"/>
              <a:gd name="T37" fmla="*/ 12 h 38"/>
              <a:gd name="T38" fmla="*/ 19 w 34"/>
              <a:gd name="T39" fmla="*/ 6 h 38"/>
              <a:gd name="T40" fmla="*/ 13 w 34"/>
              <a:gd name="T41" fmla="*/ 0 h 38"/>
              <a:gd name="T42" fmla="*/ 6 w 34"/>
              <a:gd name="T43" fmla="*/ 0 h 38"/>
              <a:gd name="T44" fmla="*/ 0 w 34"/>
              <a:gd name="T45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33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>
              <a:gd name="T0" fmla="*/ 53 w 53"/>
              <a:gd name="T1" fmla="*/ 23 h 23"/>
              <a:gd name="T2" fmla="*/ 53 w 53"/>
              <a:gd name="T3" fmla="*/ 4 h 23"/>
              <a:gd name="T4" fmla="*/ 49 w 53"/>
              <a:gd name="T5" fmla="*/ 2 h 23"/>
              <a:gd name="T6" fmla="*/ 45 w 53"/>
              <a:gd name="T7" fmla="*/ 1 h 23"/>
              <a:gd name="T8" fmla="*/ 42 w 53"/>
              <a:gd name="T9" fmla="*/ 0 h 23"/>
              <a:gd name="T10" fmla="*/ 38 w 53"/>
              <a:gd name="T11" fmla="*/ 0 h 23"/>
              <a:gd name="T12" fmla="*/ 31 w 53"/>
              <a:gd name="T13" fmla="*/ 1 h 23"/>
              <a:gd name="T14" fmla="*/ 24 w 53"/>
              <a:gd name="T15" fmla="*/ 4 h 23"/>
              <a:gd name="T16" fmla="*/ 11 w 53"/>
              <a:gd name="T17" fmla="*/ 13 h 23"/>
              <a:gd name="T18" fmla="*/ 0 w 53"/>
              <a:gd name="T19" fmla="*/ 23 h 23"/>
              <a:gd name="T20" fmla="*/ 53 w 53"/>
              <a:gd name="T21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34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4 w 26"/>
              <a:gd name="T3" fmla="*/ 4 h 12"/>
              <a:gd name="T4" fmla="*/ 11 w 26"/>
              <a:gd name="T5" fmla="*/ 8 h 12"/>
              <a:gd name="T6" fmla="*/ 14 w 26"/>
              <a:gd name="T7" fmla="*/ 9 h 12"/>
              <a:gd name="T8" fmla="*/ 18 w 26"/>
              <a:gd name="T9" fmla="*/ 11 h 12"/>
              <a:gd name="T10" fmla="*/ 22 w 26"/>
              <a:gd name="T11" fmla="*/ 11 h 12"/>
              <a:gd name="T12" fmla="*/ 26 w 26"/>
              <a:gd name="T13" fmla="*/ 12 h 12"/>
              <a:gd name="T14" fmla="*/ 21 w 26"/>
              <a:gd name="T15" fmla="*/ 7 h 12"/>
              <a:gd name="T16" fmla="*/ 13 w 26"/>
              <a:gd name="T17" fmla="*/ 3 h 12"/>
              <a:gd name="T18" fmla="*/ 5 w 26"/>
              <a:gd name="T19" fmla="*/ 1 h 12"/>
              <a:gd name="T20" fmla="*/ 0 w 26"/>
              <a:gd name="T2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35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>
              <a:gd name="T0" fmla="*/ 0 w 73"/>
              <a:gd name="T1" fmla="*/ 20 w 73"/>
              <a:gd name="T2" fmla="*/ 37 w 73"/>
              <a:gd name="T3" fmla="*/ 55 w 73"/>
              <a:gd name="T4" fmla="*/ 73 w 7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73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36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14 w 53"/>
              <a:gd name="T3" fmla="*/ 0 h 3"/>
              <a:gd name="T4" fmla="*/ 27 w 53"/>
              <a:gd name="T5" fmla="*/ 3 h 3"/>
              <a:gd name="T6" fmla="*/ 32 w 53"/>
              <a:gd name="T7" fmla="*/ 3 h 3"/>
              <a:gd name="T8" fmla="*/ 39 w 53"/>
              <a:gd name="T9" fmla="*/ 3 h 3"/>
              <a:gd name="T10" fmla="*/ 45 w 53"/>
              <a:gd name="T11" fmla="*/ 1 h 3"/>
              <a:gd name="T12" fmla="*/ 53 w 53"/>
              <a:gd name="T1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37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38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>
              <a:gd name="T0" fmla="*/ 0 h 13"/>
              <a:gd name="T1" fmla="*/ 6 h 13"/>
              <a:gd name="T2" fmla="*/ 13 h 1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39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>
              <a:gd name="T0" fmla="*/ 0 w 26"/>
              <a:gd name="T1" fmla="*/ 15 w 26"/>
              <a:gd name="T2" fmla="*/ 26 w 2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40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>
              <a:gd name="T0" fmla="*/ 20 w 20"/>
              <a:gd name="T1" fmla="*/ 0 h 25"/>
              <a:gd name="T2" fmla="*/ 0 w 20"/>
              <a:gd name="T3" fmla="*/ 13 h 25"/>
              <a:gd name="T4" fmla="*/ 4 w 20"/>
              <a:gd name="T5" fmla="*/ 18 h 25"/>
              <a:gd name="T6" fmla="*/ 10 w 20"/>
              <a:gd name="T7" fmla="*/ 21 h 25"/>
              <a:gd name="T8" fmla="*/ 14 w 20"/>
              <a:gd name="T9" fmla="*/ 24 h 25"/>
              <a:gd name="T10" fmla="*/ 20 w 20"/>
              <a:gd name="T11" fmla="*/ 25 h 25"/>
              <a:gd name="T12" fmla="*/ 20 w 20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41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>
              <a:gd name="T0" fmla="*/ 0 w 6"/>
              <a:gd name="T1" fmla="*/ 24 h 24"/>
              <a:gd name="T2" fmla="*/ 0 w 6"/>
              <a:gd name="T3" fmla="*/ 0 h 24"/>
              <a:gd name="T4" fmla="*/ 6 w 6"/>
              <a:gd name="T5" fmla="*/ 12 h 24"/>
              <a:gd name="T6" fmla="*/ 0 w 6"/>
              <a:gd name="T7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142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</p:grpSpPr>
        <p:sp>
          <p:nvSpPr>
            <p:cNvPr id="2143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19 w 19"/>
                <a:gd name="T1" fmla="*/ 25 h 25"/>
                <a:gd name="T2" fmla="*/ 18 w 19"/>
                <a:gd name="T3" fmla="*/ 20 h 25"/>
                <a:gd name="T4" fmla="*/ 17 w 19"/>
                <a:gd name="T5" fmla="*/ 12 h 25"/>
                <a:gd name="T6" fmla="*/ 16 w 19"/>
                <a:gd name="T7" fmla="*/ 9 h 25"/>
                <a:gd name="T8" fmla="*/ 17 w 19"/>
                <a:gd name="T9" fmla="*/ 6 h 25"/>
                <a:gd name="T10" fmla="*/ 17 w 19"/>
                <a:gd name="T11" fmla="*/ 3 h 25"/>
                <a:gd name="T12" fmla="*/ 19 w 19"/>
                <a:gd name="T13" fmla="*/ 0 h 25"/>
                <a:gd name="T14" fmla="*/ 0 w 19"/>
                <a:gd name="T15" fmla="*/ 0 h 25"/>
                <a:gd name="T16" fmla="*/ 1 w 19"/>
                <a:gd name="T17" fmla="*/ 7 h 25"/>
                <a:gd name="T18" fmla="*/ 5 w 19"/>
                <a:gd name="T19" fmla="*/ 15 h 25"/>
                <a:gd name="T20" fmla="*/ 7 w 19"/>
                <a:gd name="T21" fmla="*/ 19 h 25"/>
                <a:gd name="T22" fmla="*/ 11 w 19"/>
                <a:gd name="T23" fmla="*/ 23 h 25"/>
                <a:gd name="T24" fmla="*/ 15 w 19"/>
                <a:gd name="T25" fmla="*/ 25 h 25"/>
                <a:gd name="T26" fmla="*/ 19 w 19"/>
                <a:gd name="T2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44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6 w 26"/>
                <a:gd name="T1" fmla="*/ 18 h 18"/>
                <a:gd name="T2" fmla="*/ 7 w 26"/>
                <a:gd name="T3" fmla="*/ 18 h 18"/>
                <a:gd name="T4" fmla="*/ 3 w 26"/>
                <a:gd name="T5" fmla="*/ 9 h 18"/>
                <a:gd name="T6" fmla="*/ 0 w 26"/>
                <a:gd name="T7" fmla="*/ 0 h 18"/>
                <a:gd name="T8" fmla="*/ 6 w 26"/>
                <a:gd name="T9" fmla="*/ 2 h 18"/>
                <a:gd name="T10" fmla="*/ 13 w 26"/>
                <a:gd name="T11" fmla="*/ 6 h 18"/>
                <a:gd name="T12" fmla="*/ 20 w 26"/>
                <a:gd name="T13" fmla="*/ 12 h 18"/>
                <a:gd name="T14" fmla="*/ 26 w 26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45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18 h 18"/>
                <a:gd name="T2" fmla="*/ 13 w 13"/>
                <a:gd name="T3" fmla="*/ 0 h 18"/>
                <a:gd name="T4" fmla="*/ 0 w 13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46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24 h 24"/>
                <a:gd name="T2" fmla="*/ 3 w 26"/>
                <a:gd name="T3" fmla="*/ 23 h 24"/>
                <a:gd name="T4" fmla="*/ 7 w 26"/>
                <a:gd name="T5" fmla="*/ 22 h 24"/>
                <a:gd name="T6" fmla="*/ 11 w 26"/>
                <a:gd name="T7" fmla="*/ 19 h 24"/>
                <a:gd name="T8" fmla="*/ 16 w 26"/>
                <a:gd name="T9" fmla="*/ 16 h 24"/>
                <a:gd name="T10" fmla="*/ 20 w 26"/>
                <a:gd name="T11" fmla="*/ 13 h 24"/>
                <a:gd name="T12" fmla="*/ 23 w 26"/>
                <a:gd name="T13" fmla="*/ 9 h 24"/>
                <a:gd name="T14" fmla="*/ 25 w 26"/>
                <a:gd name="T15" fmla="*/ 4 h 24"/>
                <a:gd name="T16" fmla="*/ 26 w 26"/>
                <a:gd name="T17" fmla="*/ 0 h 24"/>
                <a:gd name="T18" fmla="*/ 0 w 2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47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6 h 6"/>
                <a:gd name="T2" fmla="*/ 10 w 34"/>
                <a:gd name="T3" fmla="*/ 6 h 6"/>
                <a:gd name="T4" fmla="*/ 17 w 34"/>
                <a:gd name="T5" fmla="*/ 5 h 6"/>
                <a:gd name="T6" fmla="*/ 25 w 34"/>
                <a:gd name="T7" fmla="*/ 4 h 6"/>
                <a:gd name="T8" fmla="*/ 34 w 3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48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49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19 h 19"/>
                <a:gd name="T1" fmla="*/ 9 h 19"/>
                <a:gd name="T2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50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51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4 w 14"/>
                <a:gd name="T1" fmla="*/ 0 h 6"/>
                <a:gd name="T2" fmla="*/ 7 w 14"/>
                <a:gd name="T3" fmla="*/ 3 h 6"/>
                <a:gd name="T4" fmla="*/ 0 w 14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15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>
              <a:gd name="T0" fmla="*/ 13 w 26"/>
              <a:gd name="T1" fmla="*/ 111 h 111"/>
              <a:gd name="T2" fmla="*/ 9 w 26"/>
              <a:gd name="T3" fmla="*/ 103 h 111"/>
              <a:gd name="T4" fmla="*/ 4 w 26"/>
              <a:gd name="T5" fmla="*/ 95 h 111"/>
              <a:gd name="T6" fmla="*/ 2 w 26"/>
              <a:gd name="T7" fmla="*/ 91 h 111"/>
              <a:gd name="T8" fmla="*/ 1 w 26"/>
              <a:gd name="T9" fmla="*/ 87 h 111"/>
              <a:gd name="T10" fmla="*/ 0 w 26"/>
              <a:gd name="T11" fmla="*/ 80 h 111"/>
              <a:gd name="T12" fmla="*/ 0 w 26"/>
              <a:gd name="T13" fmla="*/ 74 h 111"/>
              <a:gd name="T14" fmla="*/ 0 w 26"/>
              <a:gd name="T15" fmla="*/ 61 h 111"/>
              <a:gd name="T16" fmla="*/ 1 w 26"/>
              <a:gd name="T17" fmla="*/ 51 h 111"/>
              <a:gd name="T18" fmla="*/ 3 w 26"/>
              <a:gd name="T19" fmla="*/ 41 h 111"/>
              <a:gd name="T20" fmla="*/ 5 w 26"/>
              <a:gd name="T21" fmla="*/ 33 h 111"/>
              <a:gd name="T22" fmla="*/ 9 w 26"/>
              <a:gd name="T23" fmla="*/ 24 h 111"/>
              <a:gd name="T24" fmla="*/ 14 w 26"/>
              <a:gd name="T25" fmla="*/ 17 h 111"/>
              <a:gd name="T26" fmla="*/ 20 w 26"/>
              <a:gd name="T27" fmla="*/ 9 h 111"/>
              <a:gd name="T28" fmla="*/ 26 w 26"/>
              <a:gd name="T29" fmla="*/ 0 h 111"/>
              <a:gd name="T30" fmla="*/ 26 w 26"/>
              <a:gd name="T31" fmla="*/ 6 h 111"/>
              <a:gd name="T32" fmla="*/ 26 w 26"/>
              <a:gd name="T33" fmla="*/ 13 h 111"/>
              <a:gd name="T34" fmla="*/ 26 w 26"/>
              <a:gd name="T35" fmla="*/ 22 h 111"/>
              <a:gd name="T36" fmla="*/ 26 w 26"/>
              <a:gd name="T37" fmla="*/ 32 h 111"/>
              <a:gd name="T38" fmla="*/ 25 w 26"/>
              <a:gd name="T39" fmla="*/ 44 h 111"/>
              <a:gd name="T40" fmla="*/ 22 w 26"/>
              <a:gd name="T41" fmla="*/ 56 h 111"/>
              <a:gd name="T42" fmla="*/ 18 w 26"/>
              <a:gd name="T43" fmla="*/ 67 h 111"/>
              <a:gd name="T44" fmla="*/ 13 w 26"/>
              <a:gd name="T45" fmla="*/ 80 h 111"/>
              <a:gd name="T46" fmla="*/ 13 w 26"/>
              <a:gd name="T47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53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368925"/>
            <a:ext cx="53975" cy="58738"/>
          </a:xfrm>
          <a:custGeom>
            <a:avLst/>
            <a:gdLst>
              <a:gd name="T0" fmla="*/ 0 w 126"/>
              <a:gd name="T1" fmla="*/ 19 h 62"/>
              <a:gd name="T2" fmla="*/ 11 w 126"/>
              <a:gd name="T3" fmla="*/ 20 h 62"/>
              <a:gd name="T4" fmla="*/ 21 w 126"/>
              <a:gd name="T5" fmla="*/ 21 h 62"/>
              <a:gd name="T6" fmla="*/ 29 w 126"/>
              <a:gd name="T7" fmla="*/ 23 h 62"/>
              <a:gd name="T8" fmla="*/ 36 w 126"/>
              <a:gd name="T9" fmla="*/ 26 h 62"/>
              <a:gd name="T10" fmla="*/ 50 w 126"/>
              <a:gd name="T11" fmla="*/ 33 h 62"/>
              <a:gd name="T12" fmla="*/ 61 w 126"/>
              <a:gd name="T13" fmla="*/ 40 h 62"/>
              <a:gd name="T14" fmla="*/ 70 w 126"/>
              <a:gd name="T15" fmla="*/ 48 h 62"/>
              <a:gd name="T16" fmla="*/ 79 w 126"/>
              <a:gd name="T17" fmla="*/ 55 h 62"/>
              <a:gd name="T18" fmla="*/ 84 w 126"/>
              <a:gd name="T19" fmla="*/ 58 h 62"/>
              <a:gd name="T20" fmla="*/ 89 w 126"/>
              <a:gd name="T21" fmla="*/ 60 h 62"/>
              <a:gd name="T22" fmla="*/ 95 w 126"/>
              <a:gd name="T23" fmla="*/ 61 h 62"/>
              <a:gd name="T24" fmla="*/ 100 w 126"/>
              <a:gd name="T25" fmla="*/ 62 h 62"/>
              <a:gd name="T26" fmla="*/ 105 w 126"/>
              <a:gd name="T27" fmla="*/ 61 h 62"/>
              <a:gd name="T28" fmla="*/ 109 w 126"/>
              <a:gd name="T29" fmla="*/ 60 h 62"/>
              <a:gd name="T30" fmla="*/ 113 w 126"/>
              <a:gd name="T31" fmla="*/ 58 h 62"/>
              <a:gd name="T32" fmla="*/ 117 w 126"/>
              <a:gd name="T33" fmla="*/ 56 h 62"/>
              <a:gd name="T34" fmla="*/ 122 w 126"/>
              <a:gd name="T35" fmla="*/ 51 h 62"/>
              <a:gd name="T36" fmla="*/ 126 w 126"/>
              <a:gd name="T37" fmla="*/ 49 h 62"/>
              <a:gd name="T38" fmla="*/ 110 w 126"/>
              <a:gd name="T39" fmla="*/ 33 h 62"/>
              <a:gd name="T40" fmla="*/ 96 w 126"/>
              <a:gd name="T41" fmla="*/ 21 h 62"/>
              <a:gd name="T42" fmla="*/ 89 w 126"/>
              <a:gd name="T43" fmla="*/ 15 h 62"/>
              <a:gd name="T44" fmla="*/ 81 w 126"/>
              <a:gd name="T45" fmla="*/ 9 h 62"/>
              <a:gd name="T46" fmla="*/ 72 w 126"/>
              <a:gd name="T47" fmla="*/ 5 h 62"/>
              <a:gd name="T48" fmla="*/ 61 w 126"/>
              <a:gd name="T49" fmla="*/ 0 h 62"/>
              <a:gd name="T50" fmla="*/ 0 w 126"/>
              <a:gd name="T51" fmla="*/ 0 h 62"/>
              <a:gd name="T52" fmla="*/ 0 w 126"/>
              <a:gd name="T53" fmla="*/ 9 h 62"/>
              <a:gd name="T54" fmla="*/ 0 w 126"/>
              <a:gd name="T55" fmla="*/ 19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54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13 w 66"/>
              <a:gd name="T3" fmla="*/ 1 h 44"/>
              <a:gd name="T4" fmla="*/ 23 w 66"/>
              <a:gd name="T5" fmla="*/ 2 h 44"/>
              <a:gd name="T6" fmla="*/ 32 w 66"/>
              <a:gd name="T7" fmla="*/ 4 h 44"/>
              <a:gd name="T8" fmla="*/ 38 w 66"/>
              <a:gd name="T9" fmla="*/ 7 h 44"/>
              <a:gd name="T10" fmla="*/ 44 w 66"/>
              <a:gd name="T11" fmla="*/ 9 h 44"/>
              <a:gd name="T12" fmla="*/ 50 w 66"/>
              <a:gd name="T13" fmla="*/ 11 h 44"/>
              <a:gd name="T14" fmla="*/ 57 w 66"/>
              <a:gd name="T15" fmla="*/ 12 h 44"/>
              <a:gd name="T16" fmla="*/ 66 w 66"/>
              <a:gd name="T17" fmla="*/ 13 h 44"/>
              <a:gd name="T18" fmla="*/ 65 w 66"/>
              <a:gd name="T19" fmla="*/ 17 h 44"/>
              <a:gd name="T20" fmla="*/ 62 w 66"/>
              <a:gd name="T21" fmla="*/ 21 h 44"/>
              <a:gd name="T22" fmla="*/ 60 w 66"/>
              <a:gd name="T23" fmla="*/ 25 h 44"/>
              <a:gd name="T24" fmla="*/ 57 w 66"/>
              <a:gd name="T25" fmla="*/ 28 h 44"/>
              <a:gd name="T26" fmla="*/ 49 w 66"/>
              <a:gd name="T27" fmla="*/ 34 h 44"/>
              <a:gd name="T28" fmla="*/ 40 w 66"/>
              <a:gd name="T29" fmla="*/ 39 h 44"/>
              <a:gd name="T30" fmla="*/ 31 w 66"/>
              <a:gd name="T31" fmla="*/ 42 h 44"/>
              <a:gd name="T32" fmla="*/ 21 w 66"/>
              <a:gd name="T33" fmla="*/ 44 h 44"/>
              <a:gd name="T34" fmla="*/ 10 w 66"/>
              <a:gd name="T35" fmla="*/ 44 h 44"/>
              <a:gd name="T36" fmla="*/ 0 w 66"/>
              <a:gd name="T37" fmla="*/ 43 h 44"/>
              <a:gd name="T38" fmla="*/ 0 w 66"/>
              <a:gd name="T39" fmla="*/ 31 h 44"/>
              <a:gd name="T40" fmla="*/ 0 w 66"/>
              <a:gd name="T41" fmla="*/ 22 h 44"/>
              <a:gd name="T42" fmla="*/ 0 w 66"/>
              <a:gd name="T43" fmla="*/ 12 h 44"/>
              <a:gd name="T44" fmla="*/ 0 w 66"/>
              <a:gd name="T45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55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>
              <a:gd name="T0" fmla="*/ 46 w 46"/>
              <a:gd name="T1" fmla="*/ 0 h 16"/>
              <a:gd name="T2" fmla="*/ 40 w 46"/>
              <a:gd name="T3" fmla="*/ 7 h 16"/>
              <a:gd name="T4" fmla="*/ 35 w 46"/>
              <a:gd name="T5" fmla="*/ 13 h 16"/>
              <a:gd name="T6" fmla="*/ 31 w 46"/>
              <a:gd name="T7" fmla="*/ 14 h 16"/>
              <a:gd name="T8" fmla="*/ 29 w 46"/>
              <a:gd name="T9" fmla="*/ 15 h 16"/>
              <a:gd name="T10" fmla="*/ 26 w 46"/>
              <a:gd name="T11" fmla="*/ 16 h 16"/>
              <a:gd name="T12" fmla="*/ 23 w 46"/>
              <a:gd name="T13" fmla="*/ 16 h 16"/>
              <a:gd name="T14" fmla="*/ 16 w 46"/>
              <a:gd name="T15" fmla="*/ 14 h 16"/>
              <a:gd name="T16" fmla="*/ 11 w 46"/>
              <a:gd name="T17" fmla="*/ 11 h 16"/>
              <a:gd name="T18" fmla="*/ 5 w 46"/>
              <a:gd name="T19" fmla="*/ 6 h 16"/>
              <a:gd name="T20" fmla="*/ 0 w 46"/>
              <a:gd name="T21" fmla="*/ 0 h 16"/>
              <a:gd name="T22" fmla="*/ 46 w 46"/>
              <a:gd name="T2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56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>
              <a:gd name="T0" fmla="*/ 39 w 39"/>
              <a:gd name="T1" fmla="*/ 25 h 26"/>
              <a:gd name="T2" fmla="*/ 36 w 39"/>
              <a:gd name="T3" fmla="*/ 26 h 26"/>
              <a:gd name="T4" fmla="*/ 32 w 39"/>
              <a:gd name="T5" fmla="*/ 26 h 26"/>
              <a:gd name="T6" fmla="*/ 28 w 39"/>
              <a:gd name="T7" fmla="*/ 26 h 26"/>
              <a:gd name="T8" fmla="*/ 25 w 39"/>
              <a:gd name="T9" fmla="*/ 25 h 26"/>
              <a:gd name="T10" fmla="*/ 18 w 39"/>
              <a:gd name="T11" fmla="*/ 22 h 26"/>
              <a:gd name="T12" fmla="*/ 12 w 39"/>
              <a:gd name="T13" fmla="*/ 18 h 26"/>
              <a:gd name="T14" fmla="*/ 7 w 39"/>
              <a:gd name="T15" fmla="*/ 13 h 26"/>
              <a:gd name="T16" fmla="*/ 3 w 39"/>
              <a:gd name="T17" fmla="*/ 7 h 26"/>
              <a:gd name="T18" fmla="*/ 1 w 39"/>
              <a:gd name="T19" fmla="*/ 3 h 26"/>
              <a:gd name="T20" fmla="*/ 0 w 39"/>
              <a:gd name="T21" fmla="*/ 0 h 26"/>
              <a:gd name="T22" fmla="*/ 11 w 39"/>
              <a:gd name="T23" fmla="*/ 6 h 26"/>
              <a:gd name="T24" fmla="*/ 22 w 39"/>
              <a:gd name="T25" fmla="*/ 13 h 26"/>
              <a:gd name="T26" fmla="*/ 33 w 39"/>
              <a:gd name="T27" fmla="*/ 20 h 26"/>
              <a:gd name="T28" fmla="*/ 39 w 39"/>
              <a:gd name="T29" fmla="*/ 2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57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>
              <a:gd name="T0" fmla="*/ 11 w 11"/>
              <a:gd name="T1" fmla="*/ 0 h 25"/>
              <a:gd name="T2" fmla="*/ 11 w 11"/>
              <a:gd name="T3" fmla="*/ 5 h 25"/>
              <a:gd name="T4" fmla="*/ 10 w 11"/>
              <a:gd name="T5" fmla="*/ 12 h 25"/>
              <a:gd name="T6" fmla="*/ 9 w 11"/>
              <a:gd name="T7" fmla="*/ 20 h 25"/>
              <a:gd name="T8" fmla="*/ 4 w 11"/>
              <a:gd name="T9" fmla="*/ 25 h 25"/>
              <a:gd name="T10" fmla="*/ 2 w 11"/>
              <a:gd name="T11" fmla="*/ 23 h 25"/>
              <a:gd name="T12" fmla="*/ 1 w 11"/>
              <a:gd name="T13" fmla="*/ 20 h 25"/>
              <a:gd name="T14" fmla="*/ 0 w 11"/>
              <a:gd name="T15" fmla="*/ 15 h 25"/>
              <a:gd name="T16" fmla="*/ 0 w 11"/>
              <a:gd name="T17" fmla="*/ 12 h 25"/>
              <a:gd name="T18" fmla="*/ 1 w 11"/>
              <a:gd name="T19" fmla="*/ 9 h 25"/>
              <a:gd name="T20" fmla="*/ 3 w 11"/>
              <a:gd name="T21" fmla="*/ 5 h 25"/>
              <a:gd name="T22" fmla="*/ 6 w 11"/>
              <a:gd name="T23" fmla="*/ 2 h 25"/>
              <a:gd name="T24" fmla="*/ 11 w 11"/>
              <a:gd name="T25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58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>
              <a:gd name="T0" fmla="*/ 20 w 20"/>
              <a:gd name="T1" fmla="*/ 0 h 31"/>
              <a:gd name="T2" fmla="*/ 16 w 20"/>
              <a:gd name="T3" fmla="*/ 12 h 31"/>
              <a:gd name="T4" fmla="*/ 10 w 20"/>
              <a:gd name="T5" fmla="*/ 20 h 31"/>
              <a:gd name="T6" fmla="*/ 5 w 20"/>
              <a:gd name="T7" fmla="*/ 26 h 31"/>
              <a:gd name="T8" fmla="*/ 0 w 20"/>
              <a:gd name="T9" fmla="*/ 31 h 31"/>
              <a:gd name="T10" fmla="*/ 0 w 20"/>
              <a:gd name="T11" fmla="*/ 25 h 31"/>
              <a:gd name="T12" fmla="*/ 1 w 20"/>
              <a:gd name="T13" fmla="*/ 19 h 31"/>
              <a:gd name="T14" fmla="*/ 2 w 20"/>
              <a:gd name="T15" fmla="*/ 13 h 31"/>
              <a:gd name="T16" fmla="*/ 5 w 20"/>
              <a:gd name="T17" fmla="*/ 9 h 31"/>
              <a:gd name="T18" fmla="*/ 8 w 20"/>
              <a:gd name="T19" fmla="*/ 6 h 31"/>
              <a:gd name="T20" fmla="*/ 11 w 20"/>
              <a:gd name="T21" fmla="*/ 3 h 31"/>
              <a:gd name="T22" fmla="*/ 16 w 20"/>
              <a:gd name="T23" fmla="*/ 0 h 31"/>
              <a:gd name="T24" fmla="*/ 20 w 20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59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>
              <a:gd name="T0" fmla="*/ 13 w 26"/>
              <a:gd name="T1" fmla="*/ 37 h 37"/>
              <a:gd name="T2" fmla="*/ 0 w 26"/>
              <a:gd name="T3" fmla="*/ 12 h 37"/>
              <a:gd name="T4" fmla="*/ 6 w 26"/>
              <a:gd name="T5" fmla="*/ 7 h 37"/>
              <a:gd name="T6" fmla="*/ 13 w 26"/>
              <a:gd name="T7" fmla="*/ 4 h 37"/>
              <a:gd name="T8" fmla="*/ 21 w 26"/>
              <a:gd name="T9" fmla="*/ 1 h 37"/>
              <a:gd name="T10" fmla="*/ 26 w 26"/>
              <a:gd name="T11" fmla="*/ 0 h 37"/>
              <a:gd name="T12" fmla="*/ 26 w 26"/>
              <a:gd name="T13" fmla="*/ 6 h 37"/>
              <a:gd name="T14" fmla="*/ 25 w 26"/>
              <a:gd name="T15" fmla="*/ 11 h 37"/>
              <a:gd name="T16" fmla="*/ 24 w 26"/>
              <a:gd name="T17" fmla="*/ 17 h 37"/>
              <a:gd name="T18" fmla="*/ 23 w 26"/>
              <a:gd name="T19" fmla="*/ 21 h 37"/>
              <a:gd name="T20" fmla="*/ 18 w 26"/>
              <a:gd name="T21" fmla="*/ 29 h 37"/>
              <a:gd name="T22" fmla="*/ 13 w 26"/>
              <a:gd name="T23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60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>
              <a:gd name="T0" fmla="*/ 0 w 7"/>
              <a:gd name="T1" fmla="*/ 18 h 18"/>
              <a:gd name="T2" fmla="*/ 0 w 7"/>
              <a:gd name="T3" fmla="*/ 0 h 18"/>
              <a:gd name="T4" fmla="*/ 7 w 7"/>
              <a:gd name="T5" fmla="*/ 12 h 18"/>
              <a:gd name="T6" fmla="*/ 0 w 7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61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>
              <a:gd name="T0" fmla="*/ 0 w 33"/>
              <a:gd name="T1" fmla="*/ 12 h 31"/>
              <a:gd name="T2" fmla="*/ 19 w 33"/>
              <a:gd name="T3" fmla="*/ 0 h 31"/>
              <a:gd name="T4" fmla="*/ 24 w 33"/>
              <a:gd name="T5" fmla="*/ 5 h 31"/>
              <a:gd name="T6" fmla="*/ 28 w 33"/>
              <a:gd name="T7" fmla="*/ 12 h 31"/>
              <a:gd name="T8" fmla="*/ 32 w 33"/>
              <a:gd name="T9" fmla="*/ 22 h 31"/>
              <a:gd name="T10" fmla="*/ 33 w 33"/>
              <a:gd name="T11" fmla="*/ 31 h 31"/>
              <a:gd name="T12" fmla="*/ 27 w 33"/>
              <a:gd name="T13" fmla="*/ 30 h 31"/>
              <a:gd name="T14" fmla="*/ 22 w 33"/>
              <a:gd name="T15" fmla="*/ 28 h 31"/>
              <a:gd name="T16" fmla="*/ 16 w 33"/>
              <a:gd name="T17" fmla="*/ 25 h 31"/>
              <a:gd name="T18" fmla="*/ 11 w 33"/>
              <a:gd name="T19" fmla="*/ 22 h 31"/>
              <a:gd name="T20" fmla="*/ 3 w 33"/>
              <a:gd name="T21" fmla="*/ 15 h 31"/>
              <a:gd name="T22" fmla="*/ 0 w 33"/>
              <a:gd name="T23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62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>
              <a:gd name="T0" fmla="*/ 14 w 14"/>
              <a:gd name="T1" fmla="*/ 0 h 6"/>
              <a:gd name="T2" fmla="*/ 0 w 14"/>
              <a:gd name="T3" fmla="*/ 6 h 6"/>
              <a:gd name="T4" fmla="*/ 14 w 14"/>
              <a:gd name="T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63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164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>
              <a:gd name="T0" fmla="*/ 14 w 47"/>
              <a:gd name="T1" fmla="*/ 0 h 68"/>
              <a:gd name="T2" fmla="*/ 8 w 47"/>
              <a:gd name="T3" fmla="*/ 10 h 68"/>
              <a:gd name="T4" fmla="*/ 4 w 47"/>
              <a:gd name="T5" fmla="*/ 19 h 68"/>
              <a:gd name="T6" fmla="*/ 2 w 47"/>
              <a:gd name="T7" fmla="*/ 28 h 68"/>
              <a:gd name="T8" fmla="*/ 0 w 47"/>
              <a:gd name="T9" fmla="*/ 37 h 68"/>
              <a:gd name="T10" fmla="*/ 0 w 47"/>
              <a:gd name="T11" fmla="*/ 42 h 68"/>
              <a:gd name="T12" fmla="*/ 2 w 47"/>
              <a:gd name="T13" fmla="*/ 47 h 68"/>
              <a:gd name="T14" fmla="*/ 3 w 47"/>
              <a:gd name="T15" fmla="*/ 51 h 68"/>
              <a:gd name="T16" fmla="*/ 5 w 47"/>
              <a:gd name="T17" fmla="*/ 55 h 68"/>
              <a:gd name="T18" fmla="*/ 7 w 47"/>
              <a:gd name="T19" fmla="*/ 58 h 68"/>
              <a:gd name="T20" fmla="*/ 9 w 47"/>
              <a:gd name="T21" fmla="*/ 60 h 68"/>
              <a:gd name="T22" fmla="*/ 13 w 47"/>
              <a:gd name="T23" fmla="*/ 62 h 68"/>
              <a:gd name="T24" fmla="*/ 16 w 47"/>
              <a:gd name="T25" fmla="*/ 64 h 68"/>
              <a:gd name="T26" fmla="*/ 22 w 47"/>
              <a:gd name="T27" fmla="*/ 67 h 68"/>
              <a:gd name="T28" fmla="*/ 31 w 47"/>
              <a:gd name="T29" fmla="*/ 68 h 68"/>
              <a:gd name="T30" fmla="*/ 39 w 47"/>
              <a:gd name="T31" fmla="*/ 68 h 68"/>
              <a:gd name="T32" fmla="*/ 47 w 47"/>
              <a:gd name="T33" fmla="*/ 68 h 68"/>
              <a:gd name="T34" fmla="*/ 41 w 47"/>
              <a:gd name="T35" fmla="*/ 58 h 68"/>
              <a:gd name="T36" fmla="*/ 38 w 47"/>
              <a:gd name="T37" fmla="*/ 48 h 68"/>
              <a:gd name="T38" fmla="*/ 36 w 47"/>
              <a:gd name="T39" fmla="*/ 43 h 68"/>
              <a:gd name="T40" fmla="*/ 35 w 47"/>
              <a:gd name="T41" fmla="*/ 38 h 68"/>
              <a:gd name="T42" fmla="*/ 33 w 47"/>
              <a:gd name="T43" fmla="*/ 31 h 68"/>
              <a:gd name="T44" fmla="*/ 33 w 47"/>
              <a:gd name="T45" fmla="*/ 25 h 68"/>
              <a:gd name="T46" fmla="*/ 24 w 47"/>
              <a:gd name="T47" fmla="*/ 13 h 68"/>
              <a:gd name="T48" fmla="*/ 14 w 47"/>
              <a:gd name="T4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165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</p:grpSpPr>
        <p:sp>
          <p:nvSpPr>
            <p:cNvPr id="2166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67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68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69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0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1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2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3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4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5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6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7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8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79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0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1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2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3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4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5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6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7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8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89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90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91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92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93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94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95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96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13 w 20"/>
                <a:gd name="T1" fmla="*/ 18 h 18"/>
                <a:gd name="T2" fmla="*/ 20 w 20"/>
                <a:gd name="T3" fmla="*/ 0 h 18"/>
                <a:gd name="T4" fmla="*/ 0 w 20"/>
                <a:gd name="T5" fmla="*/ 0 h 18"/>
                <a:gd name="T6" fmla="*/ 13 w 2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grpSp>
        <p:nvGrpSpPr>
          <p:cNvPr id="2197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</p:grpSpPr>
        <p:sp>
          <p:nvSpPr>
            <p:cNvPr id="2198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1 h 87"/>
                <a:gd name="T2" fmla="*/ 0 w 40"/>
                <a:gd name="T3" fmla="*/ 42 h 87"/>
                <a:gd name="T4" fmla="*/ 2 w 40"/>
                <a:gd name="T5" fmla="*/ 51 h 87"/>
                <a:gd name="T6" fmla="*/ 5 w 40"/>
                <a:gd name="T7" fmla="*/ 59 h 87"/>
                <a:gd name="T8" fmla="*/ 10 w 40"/>
                <a:gd name="T9" fmla="*/ 66 h 87"/>
                <a:gd name="T10" fmla="*/ 15 w 40"/>
                <a:gd name="T11" fmla="*/ 72 h 87"/>
                <a:gd name="T12" fmla="*/ 22 w 40"/>
                <a:gd name="T13" fmla="*/ 77 h 87"/>
                <a:gd name="T14" fmla="*/ 31 w 40"/>
                <a:gd name="T15" fmla="*/ 82 h 87"/>
                <a:gd name="T16" fmla="*/ 40 w 40"/>
                <a:gd name="T17" fmla="*/ 87 h 87"/>
                <a:gd name="T18" fmla="*/ 35 w 40"/>
                <a:gd name="T19" fmla="*/ 82 h 87"/>
                <a:gd name="T20" fmla="*/ 32 w 40"/>
                <a:gd name="T21" fmla="*/ 77 h 87"/>
                <a:gd name="T22" fmla="*/ 29 w 40"/>
                <a:gd name="T23" fmla="*/ 71 h 87"/>
                <a:gd name="T24" fmla="*/ 26 w 40"/>
                <a:gd name="T25" fmla="*/ 65 h 87"/>
                <a:gd name="T26" fmla="*/ 22 w 40"/>
                <a:gd name="T27" fmla="*/ 52 h 87"/>
                <a:gd name="T28" fmla="*/ 20 w 40"/>
                <a:gd name="T29" fmla="*/ 39 h 87"/>
                <a:gd name="T30" fmla="*/ 18 w 40"/>
                <a:gd name="T31" fmla="*/ 27 h 87"/>
                <a:gd name="T32" fmla="*/ 13 w 40"/>
                <a:gd name="T33" fmla="*/ 16 h 87"/>
                <a:gd name="T34" fmla="*/ 11 w 40"/>
                <a:gd name="T35" fmla="*/ 11 h 87"/>
                <a:gd name="T36" fmla="*/ 8 w 40"/>
                <a:gd name="T37" fmla="*/ 6 h 87"/>
                <a:gd name="T38" fmla="*/ 4 w 40"/>
                <a:gd name="T39" fmla="*/ 3 h 87"/>
                <a:gd name="T40" fmla="*/ 0 w 40"/>
                <a:gd name="T41" fmla="*/ 0 h 87"/>
                <a:gd name="T42" fmla="*/ 0 w 40"/>
                <a:gd name="T43" fmla="*/ 9 h 87"/>
                <a:gd name="T44" fmla="*/ 0 w 40"/>
                <a:gd name="T45" fmla="*/ 16 h 87"/>
                <a:gd name="T46" fmla="*/ 0 w 40"/>
                <a:gd name="T47" fmla="*/ 23 h 87"/>
                <a:gd name="T48" fmla="*/ 0 w 40"/>
                <a:gd name="T49" fmla="*/ 3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199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1 h 37"/>
                <a:gd name="T2" fmla="*/ 19 w 61"/>
                <a:gd name="T3" fmla="*/ 32 h 37"/>
                <a:gd name="T4" fmla="*/ 35 w 61"/>
                <a:gd name="T5" fmla="*/ 34 h 37"/>
                <a:gd name="T6" fmla="*/ 49 w 61"/>
                <a:gd name="T7" fmla="*/ 36 h 37"/>
                <a:gd name="T8" fmla="*/ 61 w 61"/>
                <a:gd name="T9" fmla="*/ 37 h 37"/>
                <a:gd name="T10" fmla="*/ 55 w 61"/>
                <a:gd name="T11" fmla="*/ 29 h 37"/>
                <a:gd name="T12" fmla="*/ 49 w 61"/>
                <a:gd name="T13" fmla="*/ 22 h 37"/>
                <a:gd name="T14" fmla="*/ 42 w 61"/>
                <a:gd name="T15" fmla="*/ 17 h 37"/>
                <a:gd name="T16" fmla="*/ 35 w 61"/>
                <a:gd name="T17" fmla="*/ 12 h 37"/>
                <a:gd name="T18" fmla="*/ 28 w 61"/>
                <a:gd name="T19" fmla="*/ 9 h 37"/>
                <a:gd name="T20" fmla="*/ 19 w 61"/>
                <a:gd name="T21" fmla="*/ 5 h 37"/>
                <a:gd name="T22" fmla="*/ 10 w 61"/>
                <a:gd name="T23" fmla="*/ 2 h 37"/>
                <a:gd name="T24" fmla="*/ 0 w 61"/>
                <a:gd name="T25" fmla="*/ 0 h 37"/>
                <a:gd name="T26" fmla="*/ 0 w 61"/>
                <a:gd name="T27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00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0 w 40"/>
                <a:gd name="T1" fmla="*/ 30 h 30"/>
                <a:gd name="T2" fmla="*/ 33 w 40"/>
                <a:gd name="T3" fmla="*/ 28 h 30"/>
                <a:gd name="T4" fmla="*/ 26 w 40"/>
                <a:gd name="T5" fmla="*/ 25 h 30"/>
                <a:gd name="T6" fmla="*/ 21 w 40"/>
                <a:gd name="T7" fmla="*/ 22 h 30"/>
                <a:gd name="T8" fmla="*/ 15 w 40"/>
                <a:gd name="T9" fmla="*/ 19 h 30"/>
                <a:gd name="T10" fmla="*/ 11 w 40"/>
                <a:gd name="T11" fmla="*/ 16 h 30"/>
                <a:gd name="T12" fmla="*/ 6 w 40"/>
                <a:gd name="T13" fmla="*/ 11 h 30"/>
                <a:gd name="T14" fmla="*/ 3 w 40"/>
                <a:gd name="T15" fmla="*/ 6 h 30"/>
                <a:gd name="T16" fmla="*/ 0 w 40"/>
                <a:gd name="T17" fmla="*/ 0 h 30"/>
                <a:gd name="T18" fmla="*/ 8 w 40"/>
                <a:gd name="T19" fmla="*/ 2 h 30"/>
                <a:gd name="T20" fmla="*/ 15 w 40"/>
                <a:gd name="T21" fmla="*/ 6 h 30"/>
                <a:gd name="T22" fmla="*/ 22 w 40"/>
                <a:gd name="T23" fmla="*/ 10 h 30"/>
                <a:gd name="T24" fmla="*/ 27 w 40"/>
                <a:gd name="T25" fmla="*/ 15 h 30"/>
                <a:gd name="T26" fmla="*/ 33 w 40"/>
                <a:gd name="T27" fmla="*/ 19 h 30"/>
                <a:gd name="T28" fmla="*/ 36 w 40"/>
                <a:gd name="T29" fmla="*/ 23 h 30"/>
                <a:gd name="T30" fmla="*/ 39 w 40"/>
                <a:gd name="T31" fmla="*/ 27 h 30"/>
                <a:gd name="T32" fmla="*/ 40 w 40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01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74 w 74"/>
                <a:gd name="T1" fmla="*/ 80 h 80"/>
                <a:gd name="T2" fmla="*/ 72 w 74"/>
                <a:gd name="T3" fmla="*/ 73 h 80"/>
                <a:gd name="T4" fmla="*/ 71 w 74"/>
                <a:gd name="T5" fmla="*/ 66 h 80"/>
                <a:gd name="T6" fmla="*/ 69 w 74"/>
                <a:gd name="T7" fmla="*/ 60 h 80"/>
                <a:gd name="T8" fmla="*/ 66 w 74"/>
                <a:gd name="T9" fmla="*/ 53 h 80"/>
                <a:gd name="T10" fmla="*/ 58 w 74"/>
                <a:gd name="T11" fmla="*/ 42 h 80"/>
                <a:gd name="T12" fmla="*/ 48 w 74"/>
                <a:gd name="T13" fmla="*/ 33 h 80"/>
                <a:gd name="T14" fmla="*/ 38 w 74"/>
                <a:gd name="T15" fmla="*/ 25 h 80"/>
                <a:gd name="T16" fmla="*/ 29 w 74"/>
                <a:gd name="T17" fmla="*/ 17 h 80"/>
                <a:gd name="T18" fmla="*/ 20 w 74"/>
                <a:gd name="T19" fmla="*/ 9 h 80"/>
                <a:gd name="T20" fmla="*/ 13 w 74"/>
                <a:gd name="T21" fmla="*/ 0 h 80"/>
                <a:gd name="T22" fmla="*/ 9 w 74"/>
                <a:gd name="T23" fmla="*/ 5 h 80"/>
                <a:gd name="T24" fmla="*/ 4 w 74"/>
                <a:gd name="T25" fmla="*/ 10 h 80"/>
                <a:gd name="T26" fmla="*/ 1 w 74"/>
                <a:gd name="T27" fmla="*/ 14 h 80"/>
                <a:gd name="T28" fmla="*/ 0 w 74"/>
                <a:gd name="T29" fmla="*/ 19 h 80"/>
                <a:gd name="T30" fmla="*/ 0 w 74"/>
                <a:gd name="T31" fmla="*/ 25 h 80"/>
                <a:gd name="T32" fmla="*/ 2 w 74"/>
                <a:gd name="T33" fmla="*/ 30 h 80"/>
                <a:gd name="T34" fmla="*/ 4 w 74"/>
                <a:gd name="T35" fmla="*/ 36 h 80"/>
                <a:gd name="T36" fmla="*/ 7 w 74"/>
                <a:gd name="T37" fmla="*/ 41 h 80"/>
                <a:gd name="T38" fmla="*/ 10 w 74"/>
                <a:gd name="T39" fmla="*/ 46 h 80"/>
                <a:gd name="T40" fmla="*/ 14 w 74"/>
                <a:gd name="T41" fmla="*/ 51 h 80"/>
                <a:gd name="T42" fmla="*/ 19 w 74"/>
                <a:gd name="T43" fmla="*/ 56 h 80"/>
                <a:gd name="T44" fmla="*/ 24 w 74"/>
                <a:gd name="T45" fmla="*/ 61 h 80"/>
                <a:gd name="T46" fmla="*/ 30 w 74"/>
                <a:gd name="T47" fmla="*/ 66 h 80"/>
                <a:gd name="T48" fmla="*/ 35 w 74"/>
                <a:gd name="T49" fmla="*/ 69 h 80"/>
                <a:gd name="T50" fmla="*/ 42 w 74"/>
                <a:gd name="T51" fmla="*/ 72 h 80"/>
                <a:gd name="T52" fmla="*/ 47 w 74"/>
                <a:gd name="T53" fmla="*/ 75 h 80"/>
                <a:gd name="T54" fmla="*/ 54 w 74"/>
                <a:gd name="T55" fmla="*/ 77 h 80"/>
                <a:gd name="T56" fmla="*/ 60 w 74"/>
                <a:gd name="T57" fmla="*/ 79 h 80"/>
                <a:gd name="T58" fmla="*/ 67 w 74"/>
                <a:gd name="T59" fmla="*/ 80 h 80"/>
                <a:gd name="T60" fmla="*/ 74 w 74"/>
                <a:gd name="T6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02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2 w 86"/>
                <a:gd name="T1" fmla="*/ 80 h 80"/>
                <a:gd name="T2" fmla="*/ 86 w 86"/>
                <a:gd name="T3" fmla="*/ 80 h 80"/>
                <a:gd name="T4" fmla="*/ 86 w 86"/>
                <a:gd name="T5" fmla="*/ 61 h 80"/>
                <a:gd name="T6" fmla="*/ 79 w 86"/>
                <a:gd name="T7" fmla="*/ 59 h 80"/>
                <a:gd name="T8" fmla="*/ 72 w 86"/>
                <a:gd name="T9" fmla="*/ 56 h 80"/>
                <a:gd name="T10" fmla="*/ 67 w 86"/>
                <a:gd name="T11" fmla="*/ 53 h 80"/>
                <a:gd name="T12" fmla="*/ 61 w 86"/>
                <a:gd name="T13" fmla="*/ 49 h 80"/>
                <a:gd name="T14" fmla="*/ 51 w 86"/>
                <a:gd name="T15" fmla="*/ 41 h 80"/>
                <a:gd name="T16" fmla="*/ 43 w 86"/>
                <a:gd name="T17" fmla="*/ 33 h 80"/>
                <a:gd name="T18" fmla="*/ 34 w 86"/>
                <a:gd name="T19" fmla="*/ 25 h 80"/>
                <a:gd name="T20" fmla="*/ 24 w 86"/>
                <a:gd name="T21" fmla="*/ 16 h 80"/>
                <a:gd name="T22" fmla="*/ 13 w 86"/>
                <a:gd name="T23" fmla="*/ 7 h 80"/>
                <a:gd name="T24" fmla="*/ 0 w 86"/>
                <a:gd name="T25" fmla="*/ 0 h 80"/>
                <a:gd name="T26" fmla="*/ 1 w 86"/>
                <a:gd name="T27" fmla="*/ 8 h 80"/>
                <a:gd name="T28" fmla="*/ 5 w 86"/>
                <a:gd name="T29" fmla="*/ 20 h 80"/>
                <a:gd name="T30" fmla="*/ 11 w 86"/>
                <a:gd name="T31" fmla="*/ 32 h 80"/>
                <a:gd name="T32" fmla="*/ 18 w 86"/>
                <a:gd name="T33" fmla="*/ 44 h 80"/>
                <a:gd name="T34" fmla="*/ 27 w 86"/>
                <a:gd name="T35" fmla="*/ 57 h 80"/>
                <a:gd name="T36" fmla="*/ 36 w 86"/>
                <a:gd name="T37" fmla="*/ 67 h 80"/>
                <a:gd name="T38" fmla="*/ 40 w 86"/>
                <a:gd name="T39" fmla="*/ 72 h 80"/>
                <a:gd name="T40" fmla="*/ 45 w 86"/>
                <a:gd name="T41" fmla="*/ 76 h 80"/>
                <a:gd name="T42" fmla="*/ 49 w 86"/>
                <a:gd name="T43" fmla="*/ 79 h 80"/>
                <a:gd name="T44" fmla="*/ 52 w 86"/>
                <a:gd name="T4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03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7 h 31"/>
                <a:gd name="T2" fmla="*/ 3 w 74"/>
                <a:gd name="T3" fmla="*/ 11 h 31"/>
                <a:gd name="T4" fmla="*/ 5 w 74"/>
                <a:gd name="T5" fmla="*/ 15 h 31"/>
                <a:gd name="T6" fmla="*/ 9 w 74"/>
                <a:gd name="T7" fmla="*/ 18 h 31"/>
                <a:gd name="T8" fmla="*/ 14 w 74"/>
                <a:gd name="T9" fmla="*/ 21 h 31"/>
                <a:gd name="T10" fmla="*/ 18 w 74"/>
                <a:gd name="T11" fmla="*/ 24 h 31"/>
                <a:gd name="T12" fmla="*/ 23 w 74"/>
                <a:gd name="T13" fmla="*/ 26 h 31"/>
                <a:gd name="T14" fmla="*/ 29 w 74"/>
                <a:gd name="T15" fmla="*/ 28 h 31"/>
                <a:gd name="T16" fmla="*/ 34 w 74"/>
                <a:gd name="T17" fmla="*/ 29 h 31"/>
                <a:gd name="T18" fmla="*/ 47 w 74"/>
                <a:gd name="T19" fmla="*/ 31 h 31"/>
                <a:gd name="T20" fmla="*/ 58 w 74"/>
                <a:gd name="T21" fmla="*/ 31 h 31"/>
                <a:gd name="T22" fmla="*/ 63 w 74"/>
                <a:gd name="T23" fmla="*/ 30 h 31"/>
                <a:gd name="T24" fmla="*/ 67 w 74"/>
                <a:gd name="T25" fmla="*/ 29 h 31"/>
                <a:gd name="T26" fmla="*/ 71 w 74"/>
                <a:gd name="T27" fmla="*/ 27 h 31"/>
                <a:gd name="T28" fmla="*/ 74 w 74"/>
                <a:gd name="T29" fmla="*/ 25 h 31"/>
                <a:gd name="T30" fmla="*/ 64 w 74"/>
                <a:gd name="T31" fmla="*/ 18 h 31"/>
                <a:gd name="T32" fmla="*/ 55 w 74"/>
                <a:gd name="T33" fmla="*/ 13 h 31"/>
                <a:gd name="T34" fmla="*/ 51 w 74"/>
                <a:gd name="T35" fmla="*/ 10 h 31"/>
                <a:gd name="T36" fmla="*/ 47 w 74"/>
                <a:gd name="T37" fmla="*/ 8 h 31"/>
                <a:gd name="T38" fmla="*/ 43 w 74"/>
                <a:gd name="T39" fmla="*/ 5 h 31"/>
                <a:gd name="T40" fmla="*/ 41 w 74"/>
                <a:gd name="T41" fmla="*/ 0 h 31"/>
                <a:gd name="T42" fmla="*/ 33 w 74"/>
                <a:gd name="T43" fmla="*/ 1 h 31"/>
                <a:gd name="T44" fmla="*/ 28 w 74"/>
                <a:gd name="T45" fmla="*/ 1 h 31"/>
                <a:gd name="T46" fmla="*/ 22 w 74"/>
                <a:gd name="T47" fmla="*/ 1 h 31"/>
                <a:gd name="T48" fmla="*/ 18 w 74"/>
                <a:gd name="T49" fmla="*/ 0 h 31"/>
                <a:gd name="T50" fmla="*/ 14 w 74"/>
                <a:gd name="T51" fmla="*/ 0 h 31"/>
                <a:gd name="T52" fmla="*/ 10 w 74"/>
                <a:gd name="T53" fmla="*/ 0 h 31"/>
                <a:gd name="T54" fmla="*/ 6 w 74"/>
                <a:gd name="T55" fmla="*/ 3 h 31"/>
                <a:gd name="T56" fmla="*/ 0 w 74"/>
                <a:gd name="T57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04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0 w 20"/>
                <a:gd name="T1" fmla="*/ 0 w 20"/>
                <a:gd name="T2" fmla="*/ 10 w 20"/>
                <a:gd name="T3" fmla="*/ 2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05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7 w 100"/>
                <a:gd name="T1" fmla="*/ 25 h 65"/>
                <a:gd name="T2" fmla="*/ 35 w 100"/>
                <a:gd name="T3" fmla="*/ 40 h 65"/>
                <a:gd name="T4" fmla="*/ 61 w 100"/>
                <a:gd name="T5" fmla="*/ 55 h 65"/>
                <a:gd name="T6" fmla="*/ 72 w 100"/>
                <a:gd name="T7" fmla="*/ 60 h 65"/>
                <a:gd name="T8" fmla="*/ 83 w 100"/>
                <a:gd name="T9" fmla="*/ 65 h 65"/>
                <a:gd name="T10" fmla="*/ 87 w 100"/>
                <a:gd name="T11" fmla="*/ 65 h 65"/>
                <a:gd name="T12" fmla="*/ 91 w 100"/>
                <a:gd name="T13" fmla="*/ 65 h 65"/>
                <a:gd name="T14" fmla="*/ 96 w 100"/>
                <a:gd name="T15" fmla="*/ 65 h 65"/>
                <a:gd name="T16" fmla="*/ 100 w 100"/>
                <a:gd name="T17" fmla="*/ 62 h 65"/>
                <a:gd name="T18" fmla="*/ 94 w 100"/>
                <a:gd name="T19" fmla="*/ 60 h 65"/>
                <a:gd name="T20" fmla="*/ 88 w 100"/>
                <a:gd name="T21" fmla="*/ 56 h 65"/>
                <a:gd name="T22" fmla="*/ 83 w 100"/>
                <a:gd name="T23" fmla="*/ 52 h 65"/>
                <a:gd name="T24" fmla="*/ 78 w 100"/>
                <a:gd name="T25" fmla="*/ 46 h 65"/>
                <a:gd name="T26" fmla="*/ 67 w 100"/>
                <a:gd name="T27" fmla="*/ 34 h 65"/>
                <a:gd name="T28" fmla="*/ 57 w 100"/>
                <a:gd name="T29" fmla="*/ 21 h 65"/>
                <a:gd name="T30" fmla="*/ 52 w 100"/>
                <a:gd name="T31" fmla="*/ 15 h 65"/>
                <a:gd name="T32" fmla="*/ 46 w 100"/>
                <a:gd name="T33" fmla="*/ 10 h 65"/>
                <a:gd name="T34" fmla="*/ 40 w 100"/>
                <a:gd name="T35" fmla="*/ 4 h 65"/>
                <a:gd name="T36" fmla="*/ 33 w 100"/>
                <a:gd name="T37" fmla="*/ 1 h 65"/>
                <a:gd name="T38" fmla="*/ 27 w 100"/>
                <a:gd name="T39" fmla="*/ 0 h 65"/>
                <a:gd name="T40" fmla="*/ 18 w 100"/>
                <a:gd name="T41" fmla="*/ 0 h 65"/>
                <a:gd name="T42" fmla="*/ 10 w 100"/>
                <a:gd name="T43" fmla="*/ 2 h 65"/>
                <a:gd name="T44" fmla="*/ 0 w 100"/>
                <a:gd name="T45" fmla="*/ 6 h 65"/>
                <a:gd name="T46" fmla="*/ 7 w 100"/>
                <a:gd name="T47" fmla="*/ 2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06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2 w 79"/>
                <a:gd name="T1" fmla="*/ 85 h 104"/>
                <a:gd name="T2" fmla="*/ 56 w 79"/>
                <a:gd name="T3" fmla="*/ 61 h 104"/>
                <a:gd name="T4" fmla="*/ 43 w 79"/>
                <a:gd name="T5" fmla="*/ 41 h 104"/>
                <a:gd name="T6" fmla="*/ 29 w 79"/>
                <a:gd name="T7" fmla="*/ 20 h 104"/>
                <a:gd name="T8" fmla="*/ 12 w 79"/>
                <a:gd name="T9" fmla="*/ 0 h 104"/>
                <a:gd name="T10" fmla="*/ 6 w 79"/>
                <a:gd name="T11" fmla="*/ 16 h 104"/>
                <a:gd name="T12" fmla="*/ 2 w 79"/>
                <a:gd name="T13" fmla="*/ 33 h 104"/>
                <a:gd name="T14" fmla="*/ 0 w 79"/>
                <a:gd name="T15" fmla="*/ 40 h 104"/>
                <a:gd name="T16" fmla="*/ 0 w 79"/>
                <a:gd name="T17" fmla="*/ 48 h 104"/>
                <a:gd name="T18" fmla="*/ 0 w 79"/>
                <a:gd name="T19" fmla="*/ 55 h 104"/>
                <a:gd name="T20" fmla="*/ 0 w 79"/>
                <a:gd name="T21" fmla="*/ 62 h 104"/>
                <a:gd name="T22" fmla="*/ 1 w 79"/>
                <a:gd name="T23" fmla="*/ 68 h 104"/>
                <a:gd name="T24" fmla="*/ 3 w 79"/>
                <a:gd name="T25" fmla="*/ 74 h 104"/>
                <a:gd name="T26" fmla="*/ 6 w 79"/>
                <a:gd name="T27" fmla="*/ 79 h 104"/>
                <a:gd name="T28" fmla="*/ 10 w 79"/>
                <a:gd name="T29" fmla="*/ 83 h 104"/>
                <a:gd name="T30" fmla="*/ 14 w 79"/>
                <a:gd name="T31" fmla="*/ 88 h 104"/>
                <a:gd name="T32" fmla="*/ 20 w 79"/>
                <a:gd name="T33" fmla="*/ 90 h 104"/>
                <a:gd name="T34" fmla="*/ 25 w 79"/>
                <a:gd name="T35" fmla="*/ 92 h 104"/>
                <a:gd name="T36" fmla="*/ 33 w 79"/>
                <a:gd name="T37" fmla="*/ 92 h 104"/>
                <a:gd name="T38" fmla="*/ 43 w 79"/>
                <a:gd name="T39" fmla="*/ 93 h 104"/>
                <a:gd name="T40" fmla="*/ 54 w 79"/>
                <a:gd name="T41" fmla="*/ 96 h 104"/>
                <a:gd name="T42" fmla="*/ 65 w 79"/>
                <a:gd name="T43" fmla="*/ 100 h 104"/>
                <a:gd name="T44" fmla="*/ 79 w 79"/>
                <a:gd name="T45" fmla="*/ 104 h 104"/>
                <a:gd name="T46" fmla="*/ 72 w 79"/>
                <a:gd name="T47" fmla="*/ 8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207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08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39 w 39"/>
              <a:gd name="T3" fmla="*/ 0 h 35"/>
              <a:gd name="T4" fmla="*/ 36 w 39"/>
              <a:gd name="T5" fmla="*/ 9 h 35"/>
              <a:gd name="T6" fmla="*/ 33 w 39"/>
              <a:gd name="T7" fmla="*/ 19 h 35"/>
              <a:gd name="T8" fmla="*/ 27 w 39"/>
              <a:gd name="T9" fmla="*/ 28 h 35"/>
              <a:gd name="T10" fmla="*/ 22 w 39"/>
              <a:gd name="T11" fmla="*/ 34 h 35"/>
              <a:gd name="T12" fmla="*/ 19 w 39"/>
              <a:gd name="T13" fmla="*/ 35 h 35"/>
              <a:gd name="T14" fmla="*/ 16 w 39"/>
              <a:gd name="T15" fmla="*/ 35 h 35"/>
              <a:gd name="T16" fmla="*/ 13 w 39"/>
              <a:gd name="T17" fmla="*/ 34 h 35"/>
              <a:gd name="T18" fmla="*/ 11 w 39"/>
              <a:gd name="T19" fmla="*/ 31 h 35"/>
              <a:gd name="T20" fmla="*/ 7 w 39"/>
              <a:gd name="T21" fmla="*/ 26 h 35"/>
              <a:gd name="T22" fmla="*/ 5 w 39"/>
              <a:gd name="T23" fmla="*/ 20 h 35"/>
              <a:gd name="T24" fmla="*/ 2 w 39"/>
              <a:gd name="T25" fmla="*/ 11 h 35"/>
              <a:gd name="T26" fmla="*/ 0 w 39"/>
              <a:gd name="T27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09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>
              <a:gd name="T0" fmla="*/ 32 w 1688"/>
              <a:gd name="T1" fmla="*/ 216 h 630"/>
              <a:gd name="T2" fmla="*/ 86 w 1688"/>
              <a:gd name="T3" fmla="*/ 249 h 630"/>
              <a:gd name="T4" fmla="*/ 155 w 1688"/>
              <a:gd name="T5" fmla="*/ 264 h 630"/>
              <a:gd name="T6" fmla="*/ 191 w 1688"/>
              <a:gd name="T7" fmla="*/ 281 h 630"/>
              <a:gd name="T8" fmla="*/ 238 w 1688"/>
              <a:gd name="T9" fmla="*/ 331 h 630"/>
              <a:gd name="T10" fmla="*/ 253 w 1688"/>
              <a:gd name="T11" fmla="*/ 349 h 630"/>
              <a:gd name="T12" fmla="*/ 254 w 1688"/>
              <a:gd name="T13" fmla="*/ 386 h 630"/>
              <a:gd name="T14" fmla="*/ 273 w 1688"/>
              <a:gd name="T15" fmla="*/ 408 h 630"/>
              <a:gd name="T16" fmla="*/ 341 w 1688"/>
              <a:gd name="T17" fmla="*/ 416 h 630"/>
              <a:gd name="T18" fmla="*/ 463 w 1688"/>
              <a:gd name="T19" fmla="*/ 452 h 630"/>
              <a:gd name="T20" fmla="*/ 546 w 1688"/>
              <a:gd name="T21" fmla="*/ 469 h 630"/>
              <a:gd name="T22" fmla="*/ 575 w 1688"/>
              <a:gd name="T23" fmla="*/ 510 h 630"/>
              <a:gd name="T24" fmla="*/ 622 w 1688"/>
              <a:gd name="T25" fmla="*/ 542 h 630"/>
              <a:gd name="T26" fmla="*/ 670 w 1688"/>
              <a:gd name="T27" fmla="*/ 555 h 630"/>
              <a:gd name="T28" fmla="*/ 917 w 1688"/>
              <a:gd name="T29" fmla="*/ 576 h 630"/>
              <a:gd name="T30" fmla="*/ 1037 w 1688"/>
              <a:gd name="T31" fmla="*/ 614 h 630"/>
              <a:gd name="T32" fmla="*/ 1117 w 1688"/>
              <a:gd name="T33" fmla="*/ 630 h 630"/>
              <a:gd name="T34" fmla="*/ 1157 w 1688"/>
              <a:gd name="T35" fmla="*/ 613 h 630"/>
              <a:gd name="T36" fmla="*/ 1344 w 1688"/>
              <a:gd name="T37" fmla="*/ 564 h 630"/>
              <a:gd name="T38" fmla="*/ 1395 w 1688"/>
              <a:gd name="T39" fmla="*/ 510 h 630"/>
              <a:gd name="T40" fmla="*/ 1403 w 1688"/>
              <a:gd name="T41" fmla="*/ 483 h 630"/>
              <a:gd name="T42" fmla="*/ 1386 w 1688"/>
              <a:gd name="T43" fmla="*/ 455 h 630"/>
              <a:gd name="T44" fmla="*/ 1370 w 1688"/>
              <a:gd name="T45" fmla="*/ 415 h 630"/>
              <a:gd name="T46" fmla="*/ 1499 w 1688"/>
              <a:gd name="T47" fmla="*/ 394 h 630"/>
              <a:gd name="T48" fmla="*/ 1594 w 1688"/>
              <a:gd name="T49" fmla="*/ 343 h 630"/>
              <a:gd name="T50" fmla="*/ 1651 w 1688"/>
              <a:gd name="T51" fmla="*/ 325 h 630"/>
              <a:gd name="T52" fmla="*/ 1688 w 1688"/>
              <a:gd name="T53" fmla="*/ 297 h 630"/>
              <a:gd name="T54" fmla="*/ 1656 w 1688"/>
              <a:gd name="T55" fmla="*/ 279 h 630"/>
              <a:gd name="T56" fmla="*/ 1619 w 1688"/>
              <a:gd name="T57" fmla="*/ 252 h 630"/>
              <a:gd name="T58" fmla="*/ 1583 w 1688"/>
              <a:gd name="T59" fmla="*/ 248 h 630"/>
              <a:gd name="T60" fmla="*/ 1553 w 1688"/>
              <a:gd name="T61" fmla="*/ 258 h 630"/>
              <a:gd name="T62" fmla="*/ 1497 w 1688"/>
              <a:gd name="T63" fmla="*/ 256 h 630"/>
              <a:gd name="T64" fmla="*/ 1457 w 1688"/>
              <a:gd name="T65" fmla="*/ 235 h 630"/>
              <a:gd name="T66" fmla="*/ 1434 w 1688"/>
              <a:gd name="T67" fmla="*/ 187 h 630"/>
              <a:gd name="T68" fmla="*/ 1367 w 1688"/>
              <a:gd name="T69" fmla="*/ 124 h 630"/>
              <a:gd name="T70" fmla="*/ 1286 w 1688"/>
              <a:gd name="T71" fmla="*/ 120 h 630"/>
              <a:gd name="T72" fmla="*/ 1260 w 1688"/>
              <a:gd name="T73" fmla="*/ 147 h 630"/>
              <a:gd name="T74" fmla="*/ 1236 w 1688"/>
              <a:gd name="T75" fmla="*/ 165 h 630"/>
              <a:gd name="T76" fmla="*/ 1168 w 1688"/>
              <a:gd name="T77" fmla="*/ 167 h 630"/>
              <a:gd name="T78" fmla="*/ 1044 w 1688"/>
              <a:gd name="T79" fmla="*/ 167 h 630"/>
              <a:gd name="T80" fmla="*/ 986 w 1688"/>
              <a:gd name="T81" fmla="*/ 140 h 630"/>
              <a:gd name="T82" fmla="*/ 922 w 1688"/>
              <a:gd name="T83" fmla="*/ 108 h 630"/>
              <a:gd name="T84" fmla="*/ 852 w 1688"/>
              <a:gd name="T85" fmla="*/ 100 h 630"/>
              <a:gd name="T86" fmla="*/ 801 w 1688"/>
              <a:gd name="T87" fmla="*/ 114 h 630"/>
              <a:gd name="T88" fmla="*/ 740 w 1688"/>
              <a:gd name="T89" fmla="*/ 116 h 630"/>
              <a:gd name="T90" fmla="*/ 692 w 1688"/>
              <a:gd name="T91" fmla="*/ 101 h 630"/>
              <a:gd name="T92" fmla="*/ 662 w 1688"/>
              <a:gd name="T93" fmla="*/ 68 h 630"/>
              <a:gd name="T94" fmla="*/ 446 w 1688"/>
              <a:gd name="T95" fmla="*/ 7 h 630"/>
              <a:gd name="T96" fmla="*/ 446 w 1688"/>
              <a:gd name="T97" fmla="*/ 44 h 630"/>
              <a:gd name="T98" fmla="*/ 471 w 1688"/>
              <a:gd name="T99" fmla="*/ 79 h 630"/>
              <a:gd name="T100" fmla="*/ 490 w 1688"/>
              <a:gd name="T101" fmla="*/ 106 h 630"/>
              <a:gd name="T102" fmla="*/ 307 w 1688"/>
              <a:gd name="T103" fmla="*/ 122 h 630"/>
              <a:gd name="T104" fmla="*/ 294 w 1688"/>
              <a:gd name="T105" fmla="*/ 87 h 630"/>
              <a:gd name="T106" fmla="*/ 225 w 1688"/>
              <a:gd name="T107" fmla="*/ 97 h 630"/>
              <a:gd name="T108" fmla="*/ 185 w 1688"/>
              <a:gd name="T109" fmla="*/ 88 h 630"/>
              <a:gd name="T110" fmla="*/ 138 w 1688"/>
              <a:gd name="T111" fmla="*/ 97 h 630"/>
              <a:gd name="T112" fmla="*/ 68 w 1688"/>
              <a:gd name="T113" fmla="*/ 143 h 630"/>
              <a:gd name="T114" fmla="*/ 31 w 1688"/>
              <a:gd name="T115" fmla="*/ 151 h 630"/>
              <a:gd name="T116" fmla="*/ 4 w 1688"/>
              <a:gd name="T117" fmla="*/ 169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10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>
              <a:gd name="T0" fmla="*/ 26 w 758"/>
              <a:gd name="T1" fmla="*/ 80 h 795"/>
              <a:gd name="T2" fmla="*/ 49 w 758"/>
              <a:gd name="T3" fmla="*/ 88 h 795"/>
              <a:gd name="T4" fmla="*/ 72 w 758"/>
              <a:gd name="T5" fmla="*/ 108 h 795"/>
              <a:gd name="T6" fmla="*/ 88 w 758"/>
              <a:gd name="T7" fmla="*/ 134 h 795"/>
              <a:gd name="T8" fmla="*/ 93 w 758"/>
              <a:gd name="T9" fmla="*/ 169 h 795"/>
              <a:gd name="T10" fmla="*/ 84 w 758"/>
              <a:gd name="T11" fmla="*/ 186 h 795"/>
              <a:gd name="T12" fmla="*/ 81 w 758"/>
              <a:gd name="T13" fmla="*/ 205 h 795"/>
              <a:gd name="T14" fmla="*/ 88 w 758"/>
              <a:gd name="T15" fmla="*/ 240 h 795"/>
              <a:gd name="T16" fmla="*/ 95 w 758"/>
              <a:gd name="T17" fmla="*/ 278 h 795"/>
              <a:gd name="T18" fmla="*/ 83 w 758"/>
              <a:gd name="T19" fmla="*/ 308 h 795"/>
              <a:gd name="T20" fmla="*/ 81 w 758"/>
              <a:gd name="T21" fmla="*/ 352 h 795"/>
              <a:gd name="T22" fmla="*/ 93 w 758"/>
              <a:gd name="T23" fmla="*/ 390 h 795"/>
              <a:gd name="T24" fmla="*/ 99 w 758"/>
              <a:gd name="T25" fmla="*/ 415 h 795"/>
              <a:gd name="T26" fmla="*/ 78 w 758"/>
              <a:gd name="T27" fmla="*/ 457 h 795"/>
              <a:gd name="T28" fmla="*/ 113 w 758"/>
              <a:gd name="T29" fmla="*/ 529 h 795"/>
              <a:gd name="T30" fmla="*/ 138 w 758"/>
              <a:gd name="T31" fmla="*/ 577 h 795"/>
              <a:gd name="T32" fmla="*/ 146 w 758"/>
              <a:gd name="T33" fmla="*/ 622 h 795"/>
              <a:gd name="T34" fmla="*/ 152 w 758"/>
              <a:gd name="T35" fmla="*/ 659 h 795"/>
              <a:gd name="T36" fmla="*/ 187 w 758"/>
              <a:gd name="T37" fmla="*/ 738 h 795"/>
              <a:gd name="T38" fmla="*/ 214 w 758"/>
              <a:gd name="T39" fmla="*/ 782 h 795"/>
              <a:gd name="T40" fmla="*/ 230 w 758"/>
              <a:gd name="T41" fmla="*/ 794 h 795"/>
              <a:gd name="T42" fmla="*/ 251 w 758"/>
              <a:gd name="T43" fmla="*/ 790 h 795"/>
              <a:gd name="T44" fmla="*/ 289 w 758"/>
              <a:gd name="T45" fmla="*/ 761 h 795"/>
              <a:gd name="T46" fmla="*/ 324 w 758"/>
              <a:gd name="T47" fmla="*/ 746 h 795"/>
              <a:gd name="T48" fmla="*/ 355 w 758"/>
              <a:gd name="T49" fmla="*/ 748 h 795"/>
              <a:gd name="T50" fmla="*/ 388 w 758"/>
              <a:gd name="T51" fmla="*/ 770 h 795"/>
              <a:gd name="T52" fmla="*/ 418 w 758"/>
              <a:gd name="T53" fmla="*/ 780 h 795"/>
              <a:gd name="T54" fmla="*/ 437 w 758"/>
              <a:gd name="T55" fmla="*/ 758 h 795"/>
              <a:gd name="T56" fmla="*/ 478 w 758"/>
              <a:gd name="T57" fmla="*/ 745 h 795"/>
              <a:gd name="T58" fmla="*/ 525 w 758"/>
              <a:gd name="T59" fmla="*/ 622 h 795"/>
              <a:gd name="T60" fmla="*/ 539 w 758"/>
              <a:gd name="T61" fmla="*/ 600 h 795"/>
              <a:gd name="T62" fmla="*/ 575 w 758"/>
              <a:gd name="T63" fmla="*/ 584 h 795"/>
              <a:gd name="T64" fmla="*/ 665 w 758"/>
              <a:gd name="T65" fmla="*/ 573 h 795"/>
              <a:gd name="T66" fmla="*/ 687 w 758"/>
              <a:gd name="T67" fmla="*/ 579 h 795"/>
              <a:gd name="T68" fmla="*/ 704 w 758"/>
              <a:gd name="T69" fmla="*/ 585 h 795"/>
              <a:gd name="T70" fmla="*/ 744 w 758"/>
              <a:gd name="T71" fmla="*/ 573 h 795"/>
              <a:gd name="T72" fmla="*/ 757 w 758"/>
              <a:gd name="T73" fmla="*/ 541 h 795"/>
              <a:gd name="T74" fmla="*/ 752 w 758"/>
              <a:gd name="T75" fmla="*/ 499 h 795"/>
              <a:gd name="T76" fmla="*/ 726 w 758"/>
              <a:gd name="T77" fmla="*/ 462 h 795"/>
              <a:gd name="T78" fmla="*/ 710 w 758"/>
              <a:gd name="T79" fmla="*/ 435 h 795"/>
              <a:gd name="T80" fmla="*/ 671 w 758"/>
              <a:gd name="T81" fmla="*/ 401 h 795"/>
              <a:gd name="T82" fmla="*/ 633 w 758"/>
              <a:gd name="T83" fmla="*/ 399 h 795"/>
              <a:gd name="T84" fmla="*/ 605 w 758"/>
              <a:gd name="T85" fmla="*/ 378 h 795"/>
              <a:gd name="T86" fmla="*/ 590 w 758"/>
              <a:gd name="T87" fmla="*/ 349 h 795"/>
              <a:gd name="T88" fmla="*/ 585 w 758"/>
              <a:gd name="T89" fmla="*/ 311 h 795"/>
              <a:gd name="T90" fmla="*/ 583 w 758"/>
              <a:gd name="T91" fmla="*/ 269 h 795"/>
              <a:gd name="T92" fmla="*/ 560 w 758"/>
              <a:gd name="T93" fmla="*/ 242 h 795"/>
              <a:gd name="T94" fmla="*/ 503 w 758"/>
              <a:gd name="T95" fmla="*/ 205 h 795"/>
              <a:gd name="T96" fmla="*/ 440 w 758"/>
              <a:gd name="T97" fmla="*/ 178 h 795"/>
              <a:gd name="T98" fmla="*/ 392 w 758"/>
              <a:gd name="T99" fmla="*/ 167 h 795"/>
              <a:gd name="T100" fmla="*/ 359 w 758"/>
              <a:gd name="T101" fmla="*/ 161 h 795"/>
              <a:gd name="T102" fmla="*/ 330 w 758"/>
              <a:gd name="T103" fmla="*/ 145 h 795"/>
              <a:gd name="T104" fmla="*/ 307 w 758"/>
              <a:gd name="T105" fmla="*/ 122 h 795"/>
              <a:gd name="T106" fmla="*/ 292 w 758"/>
              <a:gd name="T107" fmla="*/ 92 h 795"/>
              <a:gd name="T108" fmla="*/ 279 w 758"/>
              <a:gd name="T109" fmla="*/ 19 h 795"/>
              <a:gd name="T110" fmla="*/ 261 w 758"/>
              <a:gd name="T111" fmla="*/ 3 h 795"/>
              <a:gd name="T112" fmla="*/ 227 w 758"/>
              <a:gd name="T113" fmla="*/ 3 h 795"/>
              <a:gd name="T114" fmla="*/ 173 w 758"/>
              <a:gd name="T115" fmla="*/ 30 h 795"/>
              <a:gd name="T116" fmla="*/ 119 w 758"/>
              <a:gd name="T117" fmla="*/ 66 h 795"/>
              <a:gd name="T118" fmla="*/ 0 w 758"/>
              <a:gd name="T119" fmla="*/ 80 h 7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11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>
              <a:gd name="T0" fmla="*/ 225 w 273"/>
              <a:gd name="T1" fmla="*/ 140 h 414"/>
              <a:gd name="T2" fmla="*/ 213 w 273"/>
              <a:gd name="T3" fmla="*/ 133 h 414"/>
              <a:gd name="T4" fmla="*/ 201 w 273"/>
              <a:gd name="T5" fmla="*/ 121 h 414"/>
              <a:gd name="T6" fmla="*/ 190 w 273"/>
              <a:gd name="T7" fmla="*/ 105 h 414"/>
              <a:gd name="T8" fmla="*/ 183 w 273"/>
              <a:gd name="T9" fmla="*/ 96 h 414"/>
              <a:gd name="T10" fmla="*/ 176 w 273"/>
              <a:gd name="T11" fmla="*/ 93 h 414"/>
              <a:gd name="T12" fmla="*/ 167 w 273"/>
              <a:gd name="T13" fmla="*/ 94 h 414"/>
              <a:gd name="T14" fmla="*/ 161 w 273"/>
              <a:gd name="T15" fmla="*/ 101 h 414"/>
              <a:gd name="T16" fmla="*/ 153 w 273"/>
              <a:gd name="T17" fmla="*/ 86 h 414"/>
              <a:gd name="T18" fmla="*/ 142 w 273"/>
              <a:gd name="T19" fmla="*/ 54 h 414"/>
              <a:gd name="T20" fmla="*/ 132 w 273"/>
              <a:gd name="T21" fmla="*/ 36 h 414"/>
              <a:gd name="T22" fmla="*/ 123 w 273"/>
              <a:gd name="T23" fmla="*/ 25 h 414"/>
              <a:gd name="T24" fmla="*/ 111 w 273"/>
              <a:gd name="T25" fmla="*/ 14 h 414"/>
              <a:gd name="T26" fmla="*/ 96 w 273"/>
              <a:gd name="T27" fmla="*/ 5 h 414"/>
              <a:gd name="T28" fmla="*/ 80 w 273"/>
              <a:gd name="T29" fmla="*/ 7 h 414"/>
              <a:gd name="T30" fmla="*/ 69 w 273"/>
              <a:gd name="T31" fmla="*/ 19 h 414"/>
              <a:gd name="T32" fmla="*/ 63 w 273"/>
              <a:gd name="T33" fmla="*/ 25 h 414"/>
              <a:gd name="T34" fmla="*/ 57 w 273"/>
              <a:gd name="T35" fmla="*/ 32 h 414"/>
              <a:gd name="T36" fmla="*/ 56 w 273"/>
              <a:gd name="T37" fmla="*/ 42 h 414"/>
              <a:gd name="T38" fmla="*/ 58 w 273"/>
              <a:gd name="T39" fmla="*/ 59 h 414"/>
              <a:gd name="T40" fmla="*/ 52 w 273"/>
              <a:gd name="T41" fmla="*/ 78 h 414"/>
              <a:gd name="T42" fmla="*/ 33 w 273"/>
              <a:gd name="T43" fmla="*/ 90 h 414"/>
              <a:gd name="T44" fmla="*/ 17 w 273"/>
              <a:gd name="T45" fmla="*/ 104 h 414"/>
              <a:gd name="T46" fmla="*/ 4 w 273"/>
              <a:gd name="T47" fmla="*/ 118 h 414"/>
              <a:gd name="T48" fmla="*/ 40 w 273"/>
              <a:gd name="T49" fmla="*/ 198 h 414"/>
              <a:gd name="T50" fmla="*/ 73 w 273"/>
              <a:gd name="T51" fmla="*/ 205 h 414"/>
              <a:gd name="T52" fmla="*/ 84 w 273"/>
              <a:gd name="T53" fmla="*/ 210 h 414"/>
              <a:gd name="T54" fmla="*/ 93 w 273"/>
              <a:gd name="T55" fmla="*/ 218 h 414"/>
              <a:gd name="T56" fmla="*/ 99 w 273"/>
              <a:gd name="T57" fmla="*/ 226 h 414"/>
              <a:gd name="T58" fmla="*/ 103 w 273"/>
              <a:gd name="T59" fmla="*/ 237 h 414"/>
              <a:gd name="T60" fmla="*/ 106 w 273"/>
              <a:gd name="T61" fmla="*/ 265 h 414"/>
              <a:gd name="T62" fmla="*/ 103 w 273"/>
              <a:gd name="T63" fmla="*/ 279 h 414"/>
              <a:gd name="T64" fmla="*/ 96 w 273"/>
              <a:gd name="T65" fmla="*/ 293 h 414"/>
              <a:gd name="T66" fmla="*/ 89 w 273"/>
              <a:gd name="T67" fmla="*/ 307 h 414"/>
              <a:gd name="T68" fmla="*/ 86 w 273"/>
              <a:gd name="T69" fmla="*/ 321 h 414"/>
              <a:gd name="T70" fmla="*/ 91 w 273"/>
              <a:gd name="T71" fmla="*/ 343 h 414"/>
              <a:gd name="T72" fmla="*/ 107 w 273"/>
              <a:gd name="T73" fmla="*/ 374 h 414"/>
              <a:gd name="T74" fmla="*/ 117 w 273"/>
              <a:gd name="T75" fmla="*/ 389 h 414"/>
              <a:gd name="T76" fmla="*/ 129 w 273"/>
              <a:gd name="T77" fmla="*/ 401 h 414"/>
              <a:gd name="T78" fmla="*/ 141 w 273"/>
              <a:gd name="T79" fmla="*/ 411 h 414"/>
              <a:gd name="T80" fmla="*/ 153 w 273"/>
              <a:gd name="T81" fmla="*/ 414 h 414"/>
              <a:gd name="T82" fmla="*/ 215 w 273"/>
              <a:gd name="T83" fmla="*/ 398 h 414"/>
              <a:gd name="T84" fmla="*/ 255 w 273"/>
              <a:gd name="T85" fmla="*/ 385 h 414"/>
              <a:gd name="T86" fmla="*/ 267 w 273"/>
              <a:gd name="T87" fmla="*/ 377 h 414"/>
              <a:gd name="T88" fmla="*/ 273 w 273"/>
              <a:gd name="T89" fmla="*/ 370 h 414"/>
              <a:gd name="T90" fmla="*/ 269 w 273"/>
              <a:gd name="T91" fmla="*/ 352 h 414"/>
              <a:gd name="T92" fmla="*/ 263 w 273"/>
              <a:gd name="T93" fmla="*/ 335 h 414"/>
              <a:gd name="T94" fmla="*/ 242 w 273"/>
              <a:gd name="T95" fmla="*/ 309 h 414"/>
              <a:gd name="T96" fmla="*/ 222 w 273"/>
              <a:gd name="T97" fmla="*/ 282 h 414"/>
              <a:gd name="T98" fmla="*/ 215 w 273"/>
              <a:gd name="T99" fmla="*/ 266 h 414"/>
              <a:gd name="T100" fmla="*/ 212 w 273"/>
              <a:gd name="T101" fmla="*/ 247 h 414"/>
              <a:gd name="T102" fmla="*/ 215 w 273"/>
              <a:gd name="T103" fmla="*/ 215 h 414"/>
              <a:gd name="T104" fmla="*/ 222 w 273"/>
              <a:gd name="T105" fmla="*/ 190 h 414"/>
              <a:gd name="T106" fmla="*/ 230 w 273"/>
              <a:gd name="T107" fmla="*/ 167 h 414"/>
              <a:gd name="T108" fmla="*/ 232 w 273"/>
              <a:gd name="T109" fmla="*/ 142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212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</p:grpSpPr>
        <p:sp>
          <p:nvSpPr>
            <p:cNvPr id="221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1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1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21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9 w 743"/>
                <a:gd name="T1" fmla="*/ 208 h 672"/>
                <a:gd name="T2" fmla="*/ 50 w 743"/>
                <a:gd name="T3" fmla="*/ 266 h 672"/>
                <a:gd name="T4" fmla="*/ 121 w 743"/>
                <a:gd name="T5" fmla="*/ 294 h 672"/>
                <a:gd name="T6" fmla="*/ 166 w 743"/>
                <a:gd name="T7" fmla="*/ 316 h 672"/>
                <a:gd name="T8" fmla="*/ 198 w 743"/>
                <a:gd name="T9" fmla="*/ 346 h 672"/>
                <a:gd name="T10" fmla="*/ 296 w 743"/>
                <a:gd name="T11" fmla="*/ 379 h 672"/>
                <a:gd name="T12" fmla="*/ 286 w 743"/>
                <a:gd name="T13" fmla="*/ 420 h 672"/>
                <a:gd name="T14" fmla="*/ 311 w 743"/>
                <a:gd name="T15" fmla="*/ 513 h 672"/>
                <a:gd name="T16" fmla="*/ 303 w 743"/>
                <a:gd name="T17" fmla="*/ 535 h 672"/>
                <a:gd name="T18" fmla="*/ 302 w 743"/>
                <a:gd name="T19" fmla="*/ 566 h 672"/>
                <a:gd name="T20" fmla="*/ 328 w 743"/>
                <a:gd name="T21" fmla="*/ 617 h 672"/>
                <a:gd name="T22" fmla="*/ 371 w 743"/>
                <a:gd name="T23" fmla="*/ 659 h 672"/>
                <a:gd name="T24" fmla="*/ 415 w 743"/>
                <a:gd name="T25" fmla="*/ 671 h 672"/>
                <a:gd name="T26" fmla="*/ 465 w 743"/>
                <a:gd name="T27" fmla="*/ 653 h 672"/>
                <a:gd name="T28" fmla="*/ 507 w 743"/>
                <a:gd name="T29" fmla="*/ 619 h 672"/>
                <a:gd name="T30" fmla="*/ 524 w 743"/>
                <a:gd name="T31" fmla="*/ 586 h 672"/>
                <a:gd name="T32" fmla="*/ 477 w 743"/>
                <a:gd name="T33" fmla="*/ 469 h 672"/>
                <a:gd name="T34" fmla="*/ 577 w 743"/>
                <a:gd name="T35" fmla="*/ 500 h 672"/>
                <a:gd name="T36" fmla="*/ 600 w 743"/>
                <a:gd name="T37" fmla="*/ 477 h 672"/>
                <a:gd name="T38" fmla="*/ 652 w 743"/>
                <a:gd name="T39" fmla="*/ 445 h 672"/>
                <a:gd name="T40" fmla="*/ 669 w 743"/>
                <a:gd name="T41" fmla="*/ 441 h 672"/>
                <a:gd name="T42" fmla="*/ 685 w 743"/>
                <a:gd name="T43" fmla="*/ 435 h 672"/>
                <a:gd name="T44" fmla="*/ 666 w 743"/>
                <a:gd name="T45" fmla="*/ 327 h 672"/>
                <a:gd name="T46" fmla="*/ 709 w 743"/>
                <a:gd name="T47" fmla="*/ 294 h 672"/>
                <a:gd name="T48" fmla="*/ 714 w 743"/>
                <a:gd name="T49" fmla="*/ 253 h 672"/>
                <a:gd name="T50" fmla="*/ 726 w 743"/>
                <a:gd name="T51" fmla="*/ 235 h 672"/>
                <a:gd name="T52" fmla="*/ 728 w 743"/>
                <a:gd name="T53" fmla="*/ 213 h 672"/>
                <a:gd name="T54" fmla="*/ 700 w 743"/>
                <a:gd name="T55" fmla="*/ 196 h 672"/>
                <a:gd name="T56" fmla="*/ 686 w 743"/>
                <a:gd name="T57" fmla="*/ 168 h 672"/>
                <a:gd name="T58" fmla="*/ 670 w 743"/>
                <a:gd name="T59" fmla="*/ 145 h 672"/>
                <a:gd name="T60" fmla="*/ 639 w 743"/>
                <a:gd name="T61" fmla="*/ 152 h 672"/>
                <a:gd name="T62" fmla="*/ 630 w 743"/>
                <a:gd name="T63" fmla="*/ 134 h 672"/>
                <a:gd name="T64" fmla="*/ 602 w 743"/>
                <a:gd name="T65" fmla="*/ 115 h 672"/>
                <a:gd name="T66" fmla="*/ 584 w 743"/>
                <a:gd name="T67" fmla="*/ 97 h 672"/>
                <a:gd name="T68" fmla="*/ 536 w 743"/>
                <a:gd name="T69" fmla="*/ 75 h 672"/>
                <a:gd name="T70" fmla="*/ 490 w 743"/>
                <a:gd name="T71" fmla="*/ 87 h 672"/>
                <a:gd name="T72" fmla="*/ 472 w 743"/>
                <a:gd name="T73" fmla="*/ 101 h 672"/>
                <a:gd name="T74" fmla="*/ 434 w 743"/>
                <a:gd name="T75" fmla="*/ 116 h 672"/>
                <a:gd name="T76" fmla="*/ 418 w 743"/>
                <a:gd name="T77" fmla="*/ 104 h 672"/>
                <a:gd name="T78" fmla="*/ 393 w 743"/>
                <a:gd name="T79" fmla="*/ 102 h 672"/>
                <a:gd name="T80" fmla="*/ 359 w 743"/>
                <a:gd name="T81" fmla="*/ 83 h 672"/>
                <a:gd name="T82" fmla="*/ 317 w 743"/>
                <a:gd name="T83" fmla="*/ 85 h 672"/>
                <a:gd name="T84" fmla="*/ 291 w 743"/>
                <a:gd name="T85" fmla="*/ 92 h 672"/>
                <a:gd name="T86" fmla="*/ 252 w 743"/>
                <a:gd name="T87" fmla="*/ 93 h 672"/>
                <a:gd name="T88" fmla="*/ 233 w 743"/>
                <a:gd name="T89" fmla="*/ 52 h 672"/>
                <a:gd name="T90" fmla="*/ 179 w 743"/>
                <a:gd name="T91" fmla="*/ 22 h 672"/>
                <a:gd name="T92" fmla="*/ 148 w 743"/>
                <a:gd name="T93" fmla="*/ 10 h 672"/>
                <a:gd name="T94" fmla="*/ 136 w 743"/>
                <a:gd name="T95" fmla="*/ 46 h 672"/>
                <a:gd name="T96" fmla="*/ 119 w 743"/>
                <a:gd name="T97" fmla="*/ 69 h 672"/>
                <a:gd name="T98" fmla="*/ 119 w 743"/>
                <a:gd name="T99" fmla="*/ 137 h 672"/>
                <a:gd name="T100" fmla="*/ 104 w 743"/>
                <a:gd name="T101" fmla="*/ 194 h 672"/>
                <a:gd name="T102" fmla="*/ 87 w 743"/>
                <a:gd name="T103" fmla="*/ 190 h 672"/>
                <a:gd name="T104" fmla="*/ 70 w 743"/>
                <a:gd name="T105" fmla="*/ 184 h 672"/>
                <a:gd name="T106" fmla="*/ 57 w 743"/>
                <a:gd name="T107" fmla="*/ 169 h 672"/>
                <a:gd name="T108" fmla="*/ 52 w 743"/>
                <a:gd name="T109" fmla="*/ 119 h 672"/>
                <a:gd name="T110" fmla="*/ 73 w 743"/>
                <a:gd name="T111" fmla="*/ 61 h 672"/>
                <a:gd name="T112" fmla="*/ 97 w 743"/>
                <a:gd name="T113" fmla="*/ 15 h 672"/>
                <a:gd name="T114" fmla="*/ 52 w 743"/>
                <a:gd name="T115" fmla="*/ 30 h 672"/>
                <a:gd name="T116" fmla="*/ 16 w 743"/>
                <a:gd name="T117" fmla="*/ 70 h 672"/>
                <a:gd name="T118" fmla="*/ 1 w 743"/>
                <a:gd name="T119" fmla="*/ 12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217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>
              <a:gd name="T0" fmla="*/ 0 w 79"/>
              <a:gd name="T1" fmla="*/ 23 h 23"/>
              <a:gd name="T2" fmla="*/ 22 w 79"/>
              <a:gd name="T3" fmla="*/ 13 h 23"/>
              <a:gd name="T4" fmla="*/ 45 w 79"/>
              <a:gd name="T5" fmla="*/ 4 h 23"/>
              <a:gd name="T6" fmla="*/ 56 w 79"/>
              <a:gd name="T7" fmla="*/ 1 h 23"/>
              <a:gd name="T8" fmla="*/ 65 w 79"/>
              <a:gd name="T9" fmla="*/ 0 h 23"/>
              <a:gd name="T10" fmla="*/ 69 w 79"/>
              <a:gd name="T11" fmla="*/ 0 h 23"/>
              <a:gd name="T12" fmla="*/ 74 w 79"/>
              <a:gd name="T13" fmla="*/ 1 h 23"/>
              <a:gd name="T14" fmla="*/ 77 w 79"/>
              <a:gd name="T15" fmla="*/ 2 h 23"/>
              <a:gd name="T16" fmla="*/ 79 w 79"/>
              <a:gd name="T17" fmla="*/ 4 h 23"/>
              <a:gd name="T18" fmla="*/ 77 w 79"/>
              <a:gd name="T19" fmla="*/ 8 h 23"/>
              <a:gd name="T20" fmla="*/ 75 w 79"/>
              <a:gd name="T21" fmla="*/ 13 h 23"/>
              <a:gd name="T22" fmla="*/ 72 w 79"/>
              <a:gd name="T23" fmla="*/ 16 h 23"/>
              <a:gd name="T24" fmla="*/ 68 w 79"/>
              <a:gd name="T25" fmla="*/ 19 h 23"/>
              <a:gd name="T26" fmla="*/ 64 w 79"/>
              <a:gd name="T27" fmla="*/ 21 h 23"/>
              <a:gd name="T28" fmla="*/ 59 w 79"/>
              <a:gd name="T29" fmla="*/ 22 h 23"/>
              <a:gd name="T30" fmla="*/ 53 w 79"/>
              <a:gd name="T31" fmla="*/ 23 h 23"/>
              <a:gd name="T32" fmla="*/ 46 w 79"/>
              <a:gd name="T33" fmla="*/ 23 h 23"/>
              <a:gd name="T34" fmla="*/ 37 w 79"/>
              <a:gd name="T35" fmla="*/ 23 h 23"/>
              <a:gd name="T36" fmla="*/ 32 w 79"/>
              <a:gd name="T37" fmla="*/ 21 h 23"/>
              <a:gd name="T38" fmla="*/ 26 w 79"/>
              <a:gd name="T39" fmla="*/ 20 h 23"/>
              <a:gd name="T40" fmla="*/ 23 w 79"/>
              <a:gd name="T41" fmla="*/ 19 h 23"/>
              <a:gd name="T42" fmla="*/ 19 w 79"/>
              <a:gd name="T43" fmla="*/ 18 h 23"/>
              <a:gd name="T44" fmla="*/ 14 w 79"/>
              <a:gd name="T45" fmla="*/ 18 h 23"/>
              <a:gd name="T46" fmla="*/ 9 w 79"/>
              <a:gd name="T47" fmla="*/ 20 h 23"/>
              <a:gd name="T48" fmla="*/ 0 w 79"/>
              <a:gd name="T49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18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>
              <a:gd name="T0" fmla="*/ 0 h 6"/>
              <a:gd name="T1" fmla="*/ 6 h 6"/>
              <a:gd name="T2" fmla="*/ 0 h 6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19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20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2 w 5"/>
              <a:gd name="T3" fmla="*/ 1 h 30"/>
              <a:gd name="T4" fmla="*/ 4 w 5"/>
              <a:gd name="T5" fmla="*/ 4 h 30"/>
              <a:gd name="T6" fmla="*/ 5 w 5"/>
              <a:gd name="T7" fmla="*/ 8 h 30"/>
              <a:gd name="T8" fmla="*/ 5 w 5"/>
              <a:gd name="T9" fmla="*/ 13 h 30"/>
              <a:gd name="T10" fmla="*/ 5 w 5"/>
              <a:gd name="T11" fmla="*/ 18 h 30"/>
              <a:gd name="T12" fmla="*/ 4 w 5"/>
              <a:gd name="T13" fmla="*/ 23 h 30"/>
              <a:gd name="T14" fmla="*/ 2 w 5"/>
              <a:gd name="T15" fmla="*/ 27 h 30"/>
              <a:gd name="T16" fmla="*/ 0 w 5"/>
              <a:gd name="T17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21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>
              <a:gd name="T0" fmla="*/ 0 w 53"/>
              <a:gd name="T1" fmla="*/ 12 h 55"/>
              <a:gd name="T2" fmla="*/ 1 w 53"/>
              <a:gd name="T3" fmla="*/ 17 h 55"/>
              <a:gd name="T4" fmla="*/ 5 w 53"/>
              <a:gd name="T5" fmla="*/ 22 h 55"/>
              <a:gd name="T6" fmla="*/ 9 w 53"/>
              <a:gd name="T7" fmla="*/ 27 h 55"/>
              <a:gd name="T8" fmla="*/ 15 w 53"/>
              <a:gd name="T9" fmla="*/ 33 h 55"/>
              <a:gd name="T10" fmla="*/ 26 w 53"/>
              <a:gd name="T11" fmla="*/ 44 h 55"/>
              <a:gd name="T12" fmla="*/ 33 w 53"/>
              <a:gd name="T13" fmla="*/ 55 h 55"/>
              <a:gd name="T14" fmla="*/ 53 w 53"/>
              <a:gd name="T15" fmla="*/ 55 h 55"/>
              <a:gd name="T16" fmla="*/ 40 w 53"/>
              <a:gd name="T17" fmla="*/ 41 h 55"/>
              <a:gd name="T18" fmla="*/ 28 w 53"/>
              <a:gd name="T19" fmla="*/ 29 h 55"/>
              <a:gd name="T20" fmla="*/ 23 w 53"/>
              <a:gd name="T21" fmla="*/ 23 h 55"/>
              <a:gd name="T22" fmla="*/ 19 w 53"/>
              <a:gd name="T23" fmla="*/ 16 h 55"/>
              <a:gd name="T24" fmla="*/ 16 w 53"/>
              <a:gd name="T25" fmla="*/ 8 h 55"/>
              <a:gd name="T26" fmla="*/ 14 w 53"/>
              <a:gd name="T27" fmla="*/ 0 h 55"/>
              <a:gd name="T28" fmla="*/ 7 w 53"/>
              <a:gd name="T29" fmla="*/ 6 h 55"/>
              <a:gd name="T30" fmla="*/ 0 w 53"/>
              <a:gd name="T31" fmla="*/ 12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22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>
              <a:gd name="T0" fmla="*/ 0 w 65"/>
              <a:gd name="T1" fmla="*/ 32 h 75"/>
              <a:gd name="T2" fmla="*/ 9 w 65"/>
              <a:gd name="T3" fmla="*/ 43 h 75"/>
              <a:gd name="T4" fmla="*/ 20 w 65"/>
              <a:gd name="T5" fmla="*/ 55 h 75"/>
              <a:gd name="T6" fmla="*/ 26 w 65"/>
              <a:gd name="T7" fmla="*/ 61 h 75"/>
              <a:gd name="T8" fmla="*/ 32 w 65"/>
              <a:gd name="T9" fmla="*/ 67 h 75"/>
              <a:gd name="T10" fmla="*/ 39 w 65"/>
              <a:gd name="T11" fmla="*/ 71 h 75"/>
              <a:gd name="T12" fmla="*/ 46 w 65"/>
              <a:gd name="T13" fmla="*/ 75 h 75"/>
              <a:gd name="T14" fmla="*/ 51 w 65"/>
              <a:gd name="T15" fmla="*/ 61 h 75"/>
              <a:gd name="T16" fmla="*/ 58 w 65"/>
              <a:gd name="T17" fmla="*/ 48 h 75"/>
              <a:gd name="T18" fmla="*/ 61 w 65"/>
              <a:gd name="T19" fmla="*/ 42 h 75"/>
              <a:gd name="T20" fmla="*/ 63 w 65"/>
              <a:gd name="T21" fmla="*/ 36 h 75"/>
              <a:gd name="T22" fmla="*/ 65 w 65"/>
              <a:gd name="T23" fmla="*/ 31 h 75"/>
              <a:gd name="T24" fmla="*/ 65 w 65"/>
              <a:gd name="T25" fmla="*/ 26 h 75"/>
              <a:gd name="T26" fmla="*/ 65 w 65"/>
              <a:gd name="T27" fmla="*/ 21 h 75"/>
              <a:gd name="T28" fmla="*/ 63 w 65"/>
              <a:gd name="T29" fmla="*/ 18 h 75"/>
              <a:gd name="T30" fmla="*/ 61 w 65"/>
              <a:gd name="T31" fmla="*/ 13 h 75"/>
              <a:gd name="T32" fmla="*/ 58 w 65"/>
              <a:gd name="T33" fmla="*/ 10 h 75"/>
              <a:gd name="T34" fmla="*/ 51 w 65"/>
              <a:gd name="T35" fmla="*/ 5 h 75"/>
              <a:gd name="T36" fmla="*/ 46 w 65"/>
              <a:gd name="T37" fmla="*/ 0 h 75"/>
              <a:gd name="T38" fmla="*/ 34 w 65"/>
              <a:gd name="T39" fmla="*/ 0 h 75"/>
              <a:gd name="T40" fmla="*/ 26 w 65"/>
              <a:gd name="T41" fmla="*/ 0 h 75"/>
              <a:gd name="T42" fmla="*/ 25 w 65"/>
              <a:gd name="T43" fmla="*/ 2 h 75"/>
              <a:gd name="T44" fmla="*/ 24 w 65"/>
              <a:gd name="T45" fmla="*/ 7 h 75"/>
              <a:gd name="T46" fmla="*/ 23 w 65"/>
              <a:gd name="T47" fmla="*/ 9 h 75"/>
              <a:gd name="T48" fmla="*/ 23 w 65"/>
              <a:gd name="T49" fmla="*/ 11 h 75"/>
              <a:gd name="T50" fmla="*/ 24 w 65"/>
              <a:gd name="T51" fmla="*/ 12 h 75"/>
              <a:gd name="T52" fmla="*/ 26 w 65"/>
              <a:gd name="T53" fmla="*/ 13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23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>
              <a:gd name="T0" fmla="*/ 0 w 40"/>
              <a:gd name="T1" fmla="*/ 62 h 62"/>
              <a:gd name="T2" fmla="*/ 3 w 40"/>
              <a:gd name="T3" fmla="*/ 52 h 62"/>
              <a:gd name="T4" fmla="*/ 7 w 40"/>
              <a:gd name="T5" fmla="*/ 43 h 62"/>
              <a:gd name="T6" fmla="*/ 12 w 40"/>
              <a:gd name="T7" fmla="*/ 33 h 62"/>
              <a:gd name="T8" fmla="*/ 17 w 40"/>
              <a:gd name="T9" fmla="*/ 25 h 62"/>
              <a:gd name="T10" fmla="*/ 23 w 40"/>
              <a:gd name="T11" fmla="*/ 17 h 62"/>
              <a:gd name="T12" fmla="*/ 29 w 40"/>
              <a:gd name="T13" fmla="*/ 9 h 62"/>
              <a:gd name="T14" fmla="*/ 35 w 40"/>
              <a:gd name="T15" fmla="*/ 3 h 62"/>
              <a:gd name="T16" fmla="*/ 40 w 40"/>
              <a:gd name="T1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24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>
              <a:gd name="T0" fmla="*/ 159 w 159"/>
              <a:gd name="T1" fmla="*/ 259 h 259"/>
              <a:gd name="T2" fmla="*/ 159 w 159"/>
              <a:gd name="T3" fmla="*/ 251 h 259"/>
              <a:gd name="T4" fmla="*/ 159 w 159"/>
              <a:gd name="T5" fmla="*/ 244 h 259"/>
              <a:gd name="T6" fmla="*/ 159 w 159"/>
              <a:gd name="T7" fmla="*/ 236 h 259"/>
              <a:gd name="T8" fmla="*/ 159 w 159"/>
              <a:gd name="T9" fmla="*/ 228 h 259"/>
              <a:gd name="T10" fmla="*/ 159 w 159"/>
              <a:gd name="T11" fmla="*/ 224 h 259"/>
              <a:gd name="T12" fmla="*/ 158 w 159"/>
              <a:gd name="T13" fmla="*/ 219 h 259"/>
              <a:gd name="T14" fmla="*/ 156 w 159"/>
              <a:gd name="T15" fmla="*/ 215 h 259"/>
              <a:gd name="T16" fmla="*/ 153 w 159"/>
              <a:gd name="T17" fmla="*/ 210 h 259"/>
              <a:gd name="T18" fmla="*/ 145 w 159"/>
              <a:gd name="T19" fmla="*/ 202 h 259"/>
              <a:gd name="T20" fmla="*/ 135 w 159"/>
              <a:gd name="T21" fmla="*/ 195 h 259"/>
              <a:gd name="T22" fmla="*/ 124 w 159"/>
              <a:gd name="T23" fmla="*/ 189 h 259"/>
              <a:gd name="T24" fmla="*/ 112 w 159"/>
              <a:gd name="T25" fmla="*/ 184 h 259"/>
              <a:gd name="T26" fmla="*/ 99 w 159"/>
              <a:gd name="T27" fmla="*/ 180 h 259"/>
              <a:gd name="T28" fmla="*/ 87 w 159"/>
              <a:gd name="T29" fmla="*/ 179 h 259"/>
              <a:gd name="T30" fmla="*/ 85 w 159"/>
              <a:gd name="T31" fmla="*/ 178 h 259"/>
              <a:gd name="T32" fmla="*/ 82 w 159"/>
              <a:gd name="T33" fmla="*/ 177 h 259"/>
              <a:gd name="T34" fmla="*/ 81 w 159"/>
              <a:gd name="T35" fmla="*/ 175 h 259"/>
              <a:gd name="T36" fmla="*/ 80 w 159"/>
              <a:gd name="T37" fmla="*/ 173 h 259"/>
              <a:gd name="T38" fmla="*/ 80 w 159"/>
              <a:gd name="T39" fmla="*/ 167 h 259"/>
              <a:gd name="T40" fmla="*/ 81 w 159"/>
              <a:gd name="T41" fmla="*/ 161 h 259"/>
              <a:gd name="T42" fmla="*/ 85 w 159"/>
              <a:gd name="T43" fmla="*/ 148 h 259"/>
              <a:gd name="T44" fmla="*/ 87 w 159"/>
              <a:gd name="T45" fmla="*/ 142 h 259"/>
              <a:gd name="T46" fmla="*/ 73 w 159"/>
              <a:gd name="T47" fmla="*/ 141 h 259"/>
              <a:gd name="T48" fmla="*/ 59 w 159"/>
              <a:gd name="T49" fmla="*/ 139 h 259"/>
              <a:gd name="T50" fmla="*/ 48 w 159"/>
              <a:gd name="T51" fmla="*/ 135 h 259"/>
              <a:gd name="T52" fmla="*/ 40 w 159"/>
              <a:gd name="T53" fmla="*/ 129 h 259"/>
              <a:gd name="T54" fmla="*/ 31 w 159"/>
              <a:gd name="T55" fmla="*/ 121 h 259"/>
              <a:gd name="T56" fmla="*/ 24 w 159"/>
              <a:gd name="T57" fmla="*/ 113 h 259"/>
              <a:gd name="T58" fmla="*/ 18 w 159"/>
              <a:gd name="T59" fmla="*/ 104 h 259"/>
              <a:gd name="T60" fmla="*/ 13 w 159"/>
              <a:gd name="T61" fmla="*/ 94 h 259"/>
              <a:gd name="T62" fmla="*/ 9 w 159"/>
              <a:gd name="T63" fmla="*/ 84 h 259"/>
              <a:gd name="T64" fmla="*/ 7 w 159"/>
              <a:gd name="T65" fmla="*/ 73 h 259"/>
              <a:gd name="T66" fmla="*/ 5 w 159"/>
              <a:gd name="T67" fmla="*/ 60 h 259"/>
              <a:gd name="T68" fmla="*/ 2 w 159"/>
              <a:gd name="T69" fmla="*/ 48 h 259"/>
              <a:gd name="T70" fmla="*/ 0 w 159"/>
              <a:gd name="T71" fmla="*/ 25 h 259"/>
              <a:gd name="T72" fmla="*/ 0 w 159"/>
              <a:gd name="T73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25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26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>
              <a:gd name="T0" fmla="*/ 0 w 13"/>
              <a:gd name="T1" fmla="*/ 25 h 25"/>
              <a:gd name="T2" fmla="*/ 1 w 13"/>
              <a:gd name="T3" fmla="*/ 19 h 25"/>
              <a:gd name="T4" fmla="*/ 4 w 13"/>
              <a:gd name="T5" fmla="*/ 13 h 25"/>
              <a:gd name="T6" fmla="*/ 8 w 13"/>
              <a:gd name="T7" fmla="*/ 6 h 25"/>
              <a:gd name="T8" fmla="*/ 13 w 13"/>
              <a:gd name="T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27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28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>
              <a:gd name="T0" fmla="*/ 100 w 100"/>
              <a:gd name="T1" fmla="*/ 123 h 123"/>
              <a:gd name="T2" fmla="*/ 90 w 100"/>
              <a:gd name="T3" fmla="*/ 122 h 123"/>
              <a:gd name="T4" fmla="*/ 76 w 100"/>
              <a:gd name="T5" fmla="*/ 119 h 123"/>
              <a:gd name="T6" fmla="*/ 60 w 100"/>
              <a:gd name="T7" fmla="*/ 114 h 123"/>
              <a:gd name="T8" fmla="*/ 43 w 100"/>
              <a:gd name="T9" fmla="*/ 107 h 123"/>
              <a:gd name="T10" fmla="*/ 34 w 100"/>
              <a:gd name="T11" fmla="*/ 103 h 123"/>
              <a:gd name="T12" fmla="*/ 27 w 100"/>
              <a:gd name="T13" fmla="*/ 99 h 123"/>
              <a:gd name="T14" fmla="*/ 20 w 100"/>
              <a:gd name="T15" fmla="*/ 94 h 123"/>
              <a:gd name="T16" fmla="*/ 13 w 100"/>
              <a:gd name="T17" fmla="*/ 89 h 123"/>
              <a:gd name="T18" fmla="*/ 8 w 100"/>
              <a:gd name="T19" fmla="*/ 84 h 123"/>
              <a:gd name="T20" fmla="*/ 4 w 100"/>
              <a:gd name="T21" fmla="*/ 79 h 123"/>
              <a:gd name="T22" fmla="*/ 1 w 100"/>
              <a:gd name="T23" fmla="*/ 73 h 123"/>
              <a:gd name="T24" fmla="*/ 0 w 100"/>
              <a:gd name="T25" fmla="*/ 68 h 123"/>
              <a:gd name="T26" fmla="*/ 2 w 100"/>
              <a:gd name="T27" fmla="*/ 55 h 123"/>
              <a:gd name="T28" fmla="*/ 7 w 100"/>
              <a:gd name="T29" fmla="*/ 36 h 123"/>
              <a:gd name="T30" fmla="*/ 11 w 100"/>
              <a:gd name="T31" fmla="*/ 17 h 123"/>
              <a:gd name="T32" fmla="*/ 13 w 100"/>
              <a:gd name="T33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29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>
              <a:gd name="T0" fmla="*/ 5 w 5"/>
              <a:gd name="T1" fmla="*/ 0 h 99"/>
              <a:gd name="T2" fmla="*/ 4 w 5"/>
              <a:gd name="T3" fmla="*/ 34 h 99"/>
              <a:gd name="T4" fmla="*/ 1 w 5"/>
              <a:gd name="T5" fmla="*/ 59 h 99"/>
              <a:gd name="T6" fmla="*/ 0 w 5"/>
              <a:gd name="T7" fmla="*/ 69 h 99"/>
              <a:gd name="T8" fmla="*/ 0 w 5"/>
              <a:gd name="T9" fmla="*/ 78 h 99"/>
              <a:gd name="T10" fmla="*/ 2 w 5"/>
              <a:gd name="T11" fmla="*/ 87 h 99"/>
              <a:gd name="T12" fmla="*/ 5 w 5"/>
              <a:gd name="T13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30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>
              <a:gd name="T0" fmla="*/ 14 w 14"/>
              <a:gd name="T1" fmla="*/ 0 h 68"/>
              <a:gd name="T2" fmla="*/ 8 w 14"/>
              <a:gd name="T3" fmla="*/ 16 h 68"/>
              <a:gd name="T4" fmla="*/ 4 w 14"/>
              <a:gd name="T5" fmla="*/ 33 h 68"/>
              <a:gd name="T6" fmla="*/ 2 w 14"/>
              <a:gd name="T7" fmla="*/ 52 h 68"/>
              <a:gd name="T8" fmla="*/ 0 w 14"/>
              <a:gd name="T9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31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>
              <a:gd name="T0" fmla="*/ 0 h 43"/>
              <a:gd name="T1" fmla="*/ 13 h 43"/>
              <a:gd name="T2" fmla="*/ 26 h 43"/>
              <a:gd name="T3" fmla="*/ 37 h 43"/>
              <a:gd name="T4" fmla="*/ 43 h 4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32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33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>
              <a:gd name="T0" fmla="*/ 31 h 31"/>
              <a:gd name="T1" fmla="*/ 22 h 31"/>
              <a:gd name="T2" fmla="*/ 15 h 31"/>
              <a:gd name="T3" fmla="*/ 8 h 31"/>
              <a:gd name="T4" fmla="*/ 0 h 3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34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>
              <a:gd name="T0" fmla="*/ 19 w 225"/>
              <a:gd name="T1" fmla="*/ 158 h 167"/>
              <a:gd name="T2" fmla="*/ 7 w 225"/>
              <a:gd name="T3" fmla="*/ 142 h 167"/>
              <a:gd name="T4" fmla="*/ 0 w 225"/>
              <a:gd name="T5" fmla="*/ 130 h 167"/>
              <a:gd name="T6" fmla="*/ 1 w 225"/>
              <a:gd name="T7" fmla="*/ 108 h 167"/>
              <a:gd name="T8" fmla="*/ 11 w 225"/>
              <a:gd name="T9" fmla="*/ 68 h 167"/>
              <a:gd name="T10" fmla="*/ 24 w 225"/>
              <a:gd name="T11" fmla="*/ 39 h 167"/>
              <a:gd name="T12" fmla="*/ 34 w 225"/>
              <a:gd name="T13" fmla="*/ 21 h 167"/>
              <a:gd name="T14" fmla="*/ 44 w 225"/>
              <a:gd name="T15" fmla="*/ 9 h 167"/>
              <a:gd name="T16" fmla="*/ 54 w 225"/>
              <a:gd name="T17" fmla="*/ 1 h 167"/>
              <a:gd name="T18" fmla="*/ 65 w 225"/>
              <a:gd name="T19" fmla="*/ 1 h 167"/>
              <a:gd name="T20" fmla="*/ 76 w 225"/>
              <a:gd name="T21" fmla="*/ 3 h 167"/>
              <a:gd name="T22" fmla="*/ 88 w 225"/>
              <a:gd name="T23" fmla="*/ 8 h 167"/>
              <a:gd name="T24" fmla="*/ 100 w 225"/>
              <a:gd name="T25" fmla="*/ 17 h 167"/>
              <a:gd name="T26" fmla="*/ 112 w 225"/>
              <a:gd name="T27" fmla="*/ 24 h 167"/>
              <a:gd name="T28" fmla="*/ 128 w 225"/>
              <a:gd name="T29" fmla="*/ 24 h 167"/>
              <a:gd name="T30" fmla="*/ 145 w 225"/>
              <a:gd name="T31" fmla="*/ 19 h 167"/>
              <a:gd name="T32" fmla="*/ 165 w 225"/>
              <a:gd name="T33" fmla="*/ 7 h 167"/>
              <a:gd name="T34" fmla="*/ 225 w 225"/>
              <a:gd name="T35" fmla="*/ 0 h 167"/>
              <a:gd name="T36" fmla="*/ 215 w 225"/>
              <a:gd name="T37" fmla="*/ 22 h 167"/>
              <a:gd name="T38" fmla="*/ 201 w 225"/>
              <a:gd name="T39" fmla="*/ 41 h 167"/>
              <a:gd name="T40" fmla="*/ 168 w 225"/>
              <a:gd name="T41" fmla="*/ 72 h 167"/>
              <a:gd name="T42" fmla="*/ 138 w 225"/>
              <a:gd name="T43" fmla="*/ 100 h 167"/>
              <a:gd name="T44" fmla="*/ 129 w 225"/>
              <a:gd name="T45" fmla="*/ 114 h 167"/>
              <a:gd name="T46" fmla="*/ 126 w 225"/>
              <a:gd name="T47" fmla="*/ 130 h 167"/>
              <a:gd name="T48" fmla="*/ 123 w 225"/>
              <a:gd name="T49" fmla="*/ 126 h 167"/>
              <a:gd name="T50" fmla="*/ 120 w 225"/>
              <a:gd name="T51" fmla="*/ 117 h 167"/>
              <a:gd name="T52" fmla="*/ 106 w 225"/>
              <a:gd name="T53" fmla="*/ 121 h 167"/>
              <a:gd name="T54" fmla="*/ 97 w 225"/>
              <a:gd name="T55" fmla="*/ 128 h 167"/>
              <a:gd name="T56" fmla="*/ 80 w 225"/>
              <a:gd name="T57" fmla="*/ 145 h 167"/>
              <a:gd name="T58" fmla="*/ 71 w 225"/>
              <a:gd name="T59" fmla="*/ 153 h 167"/>
              <a:gd name="T60" fmla="*/ 60 w 225"/>
              <a:gd name="T61" fmla="*/ 160 h 167"/>
              <a:gd name="T62" fmla="*/ 46 w 225"/>
              <a:gd name="T63" fmla="*/ 165 h 167"/>
              <a:gd name="T64" fmla="*/ 26 w 225"/>
              <a:gd name="T65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35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>
              <a:gd name="T0" fmla="*/ 0 w 7"/>
              <a:gd name="T1" fmla="*/ 31 h 31"/>
              <a:gd name="T2" fmla="*/ 5 w 7"/>
              <a:gd name="T3" fmla="*/ 22 h 31"/>
              <a:gd name="T4" fmla="*/ 6 w 7"/>
              <a:gd name="T5" fmla="*/ 13 h 31"/>
              <a:gd name="T6" fmla="*/ 7 w 7"/>
              <a:gd name="T7" fmla="*/ 6 h 31"/>
              <a:gd name="T8" fmla="*/ 7 w 7"/>
              <a:gd name="T9" fmla="*/ 0 h 31"/>
              <a:gd name="T10" fmla="*/ 6 w 7"/>
              <a:gd name="T11" fmla="*/ 6 h 31"/>
              <a:gd name="T12" fmla="*/ 4 w 7"/>
              <a:gd name="T13" fmla="*/ 13 h 31"/>
              <a:gd name="T14" fmla="*/ 1 w 7"/>
              <a:gd name="T15" fmla="*/ 22 h 31"/>
              <a:gd name="T16" fmla="*/ 0 w 7"/>
              <a:gd name="T1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36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>
              <a:gd name="T0" fmla="*/ 33 w 33"/>
              <a:gd name="T1" fmla="*/ 31 h 31"/>
              <a:gd name="T2" fmla="*/ 33 w 33"/>
              <a:gd name="T3" fmla="*/ 0 h 31"/>
              <a:gd name="T4" fmla="*/ 27 w 33"/>
              <a:gd name="T5" fmla="*/ 0 h 31"/>
              <a:gd name="T6" fmla="*/ 22 w 33"/>
              <a:gd name="T7" fmla="*/ 2 h 31"/>
              <a:gd name="T8" fmla="*/ 16 w 33"/>
              <a:gd name="T9" fmla="*/ 5 h 31"/>
              <a:gd name="T10" fmla="*/ 11 w 33"/>
              <a:gd name="T11" fmla="*/ 8 h 31"/>
              <a:gd name="T12" fmla="*/ 6 w 33"/>
              <a:gd name="T13" fmla="*/ 12 h 31"/>
              <a:gd name="T14" fmla="*/ 3 w 33"/>
              <a:gd name="T15" fmla="*/ 16 h 31"/>
              <a:gd name="T16" fmla="*/ 1 w 33"/>
              <a:gd name="T17" fmla="*/ 21 h 31"/>
              <a:gd name="T18" fmla="*/ 0 w 33"/>
              <a:gd name="T19" fmla="*/ 25 h 31"/>
              <a:gd name="T20" fmla="*/ 1 w 33"/>
              <a:gd name="T21" fmla="*/ 27 h 31"/>
              <a:gd name="T22" fmla="*/ 3 w 33"/>
              <a:gd name="T23" fmla="*/ 29 h 31"/>
              <a:gd name="T24" fmla="*/ 6 w 33"/>
              <a:gd name="T25" fmla="*/ 30 h 31"/>
              <a:gd name="T26" fmla="*/ 11 w 33"/>
              <a:gd name="T27" fmla="*/ 30 h 31"/>
              <a:gd name="T28" fmla="*/ 22 w 33"/>
              <a:gd name="T29" fmla="*/ 31 h 31"/>
              <a:gd name="T30" fmla="*/ 33 w 33"/>
              <a:gd name="T3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37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>
              <a:gd name="T0" fmla="*/ 0 w 13"/>
              <a:gd name="T1" fmla="*/ 19 h 19"/>
              <a:gd name="T2" fmla="*/ 2 w 13"/>
              <a:gd name="T3" fmla="*/ 18 h 19"/>
              <a:gd name="T4" fmla="*/ 5 w 13"/>
              <a:gd name="T5" fmla="*/ 17 h 19"/>
              <a:gd name="T6" fmla="*/ 7 w 13"/>
              <a:gd name="T7" fmla="*/ 15 h 19"/>
              <a:gd name="T8" fmla="*/ 8 w 13"/>
              <a:gd name="T9" fmla="*/ 12 h 19"/>
              <a:gd name="T10" fmla="*/ 12 w 13"/>
              <a:gd name="T11" fmla="*/ 6 h 19"/>
              <a:gd name="T12" fmla="*/ 13 w 13"/>
              <a:gd name="T13" fmla="*/ 0 h 19"/>
              <a:gd name="T14" fmla="*/ 0 w 13"/>
              <a:gd name="T15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38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>
              <a:gd name="T0" fmla="*/ 54 w 87"/>
              <a:gd name="T1" fmla="*/ 42 h 42"/>
              <a:gd name="T2" fmla="*/ 59 w 87"/>
              <a:gd name="T3" fmla="*/ 42 h 42"/>
              <a:gd name="T4" fmla="*/ 64 w 87"/>
              <a:gd name="T5" fmla="*/ 41 h 42"/>
              <a:gd name="T6" fmla="*/ 68 w 87"/>
              <a:gd name="T7" fmla="*/ 40 h 42"/>
              <a:gd name="T8" fmla="*/ 71 w 87"/>
              <a:gd name="T9" fmla="*/ 38 h 42"/>
              <a:gd name="T10" fmla="*/ 75 w 87"/>
              <a:gd name="T11" fmla="*/ 34 h 42"/>
              <a:gd name="T12" fmla="*/ 78 w 87"/>
              <a:gd name="T13" fmla="*/ 28 h 42"/>
              <a:gd name="T14" fmla="*/ 79 w 87"/>
              <a:gd name="T15" fmla="*/ 22 h 42"/>
              <a:gd name="T16" fmla="*/ 80 w 87"/>
              <a:gd name="T17" fmla="*/ 16 h 42"/>
              <a:gd name="T18" fmla="*/ 82 w 87"/>
              <a:gd name="T19" fmla="*/ 11 h 42"/>
              <a:gd name="T20" fmla="*/ 87 w 87"/>
              <a:gd name="T21" fmla="*/ 6 h 42"/>
              <a:gd name="T22" fmla="*/ 77 w 87"/>
              <a:gd name="T23" fmla="*/ 2 h 42"/>
              <a:gd name="T24" fmla="*/ 67 w 87"/>
              <a:gd name="T25" fmla="*/ 0 h 42"/>
              <a:gd name="T26" fmla="*/ 57 w 87"/>
              <a:gd name="T27" fmla="*/ 0 h 42"/>
              <a:gd name="T28" fmla="*/ 47 w 87"/>
              <a:gd name="T29" fmla="*/ 0 h 42"/>
              <a:gd name="T30" fmla="*/ 40 w 87"/>
              <a:gd name="T31" fmla="*/ 0 h 42"/>
              <a:gd name="T32" fmla="*/ 32 w 87"/>
              <a:gd name="T33" fmla="*/ 2 h 42"/>
              <a:gd name="T34" fmla="*/ 25 w 87"/>
              <a:gd name="T35" fmla="*/ 4 h 42"/>
              <a:gd name="T36" fmla="*/ 19 w 87"/>
              <a:gd name="T37" fmla="*/ 6 h 42"/>
              <a:gd name="T38" fmla="*/ 8 w 87"/>
              <a:gd name="T39" fmla="*/ 12 h 42"/>
              <a:gd name="T40" fmla="*/ 0 w 87"/>
              <a:gd name="T41" fmla="*/ 18 h 42"/>
              <a:gd name="T42" fmla="*/ 11 w 87"/>
              <a:gd name="T43" fmla="*/ 24 h 42"/>
              <a:gd name="T44" fmla="*/ 27 w 87"/>
              <a:gd name="T45" fmla="*/ 32 h 42"/>
              <a:gd name="T46" fmla="*/ 43 w 87"/>
              <a:gd name="T47" fmla="*/ 39 h 42"/>
              <a:gd name="T48" fmla="*/ 54 w 87"/>
              <a:gd name="T4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39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7 w 7"/>
              <a:gd name="T3" fmla="*/ 0 h 31"/>
              <a:gd name="T4" fmla="*/ 7 w 7"/>
              <a:gd name="T5" fmla="*/ 18 h 31"/>
              <a:gd name="T6" fmla="*/ 0 w 7"/>
              <a:gd name="T7" fmla="*/ 31 h 31"/>
              <a:gd name="T8" fmla="*/ 0 w 7"/>
              <a:gd name="T9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40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>
              <a:gd name="T0" fmla="*/ 214 w 2332"/>
              <a:gd name="T1" fmla="*/ 707 h 1731"/>
              <a:gd name="T2" fmla="*/ 325 w 2332"/>
              <a:gd name="T3" fmla="*/ 649 h 1731"/>
              <a:gd name="T4" fmla="*/ 435 w 2332"/>
              <a:gd name="T5" fmla="*/ 606 h 1731"/>
              <a:gd name="T6" fmla="*/ 605 w 2332"/>
              <a:gd name="T7" fmla="*/ 570 h 1731"/>
              <a:gd name="T8" fmla="*/ 677 w 2332"/>
              <a:gd name="T9" fmla="*/ 437 h 1731"/>
              <a:gd name="T10" fmla="*/ 758 w 2332"/>
              <a:gd name="T11" fmla="*/ 439 h 1731"/>
              <a:gd name="T12" fmla="*/ 784 w 2332"/>
              <a:gd name="T13" fmla="*/ 363 h 1731"/>
              <a:gd name="T14" fmla="*/ 866 w 2332"/>
              <a:gd name="T15" fmla="*/ 316 h 1731"/>
              <a:gd name="T16" fmla="*/ 939 w 2332"/>
              <a:gd name="T17" fmla="*/ 246 h 1731"/>
              <a:gd name="T18" fmla="*/ 1027 w 2332"/>
              <a:gd name="T19" fmla="*/ 223 h 1731"/>
              <a:gd name="T20" fmla="*/ 1078 w 2332"/>
              <a:gd name="T21" fmla="*/ 284 h 1731"/>
              <a:gd name="T22" fmla="*/ 1135 w 2332"/>
              <a:gd name="T23" fmla="*/ 270 h 1731"/>
              <a:gd name="T24" fmla="*/ 1176 w 2332"/>
              <a:gd name="T25" fmla="*/ 172 h 1731"/>
              <a:gd name="T26" fmla="*/ 1320 w 2332"/>
              <a:gd name="T27" fmla="*/ 117 h 1731"/>
              <a:gd name="T28" fmla="*/ 1336 w 2332"/>
              <a:gd name="T29" fmla="*/ 41 h 1731"/>
              <a:gd name="T30" fmla="*/ 1432 w 2332"/>
              <a:gd name="T31" fmla="*/ 107 h 1731"/>
              <a:gd name="T32" fmla="*/ 1544 w 2332"/>
              <a:gd name="T33" fmla="*/ 117 h 1731"/>
              <a:gd name="T34" fmla="*/ 1465 w 2332"/>
              <a:gd name="T35" fmla="*/ 262 h 1731"/>
              <a:gd name="T36" fmla="*/ 1509 w 2332"/>
              <a:gd name="T37" fmla="*/ 333 h 1731"/>
              <a:gd name="T38" fmla="*/ 1582 w 2332"/>
              <a:gd name="T39" fmla="*/ 354 h 1731"/>
              <a:gd name="T40" fmla="*/ 1668 w 2332"/>
              <a:gd name="T41" fmla="*/ 423 h 1731"/>
              <a:gd name="T42" fmla="*/ 1764 w 2332"/>
              <a:gd name="T43" fmla="*/ 413 h 1731"/>
              <a:gd name="T44" fmla="*/ 1830 w 2332"/>
              <a:gd name="T45" fmla="*/ 205 h 1731"/>
              <a:gd name="T46" fmla="*/ 1904 w 2332"/>
              <a:gd name="T47" fmla="*/ 10 h 1731"/>
              <a:gd name="T48" fmla="*/ 1933 w 2332"/>
              <a:gd name="T49" fmla="*/ 80 h 1731"/>
              <a:gd name="T50" fmla="*/ 1944 w 2332"/>
              <a:gd name="T51" fmla="*/ 176 h 1731"/>
              <a:gd name="T52" fmla="*/ 1986 w 2332"/>
              <a:gd name="T53" fmla="*/ 240 h 1731"/>
              <a:gd name="T54" fmla="*/ 2040 w 2332"/>
              <a:gd name="T55" fmla="*/ 429 h 1731"/>
              <a:gd name="T56" fmla="*/ 2089 w 2332"/>
              <a:gd name="T57" fmla="*/ 540 h 1731"/>
              <a:gd name="T58" fmla="*/ 2163 w 2332"/>
              <a:gd name="T59" fmla="*/ 686 h 1731"/>
              <a:gd name="T60" fmla="*/ 2219 w 2332"/>
              <a:gd name="T61" fmla="*/ 769 h 1731"/>
              <a:gd name="T62" fmla="*/ 2332 w 2332"/>
              <a:gd name="T63" fmla="*/ 892 h 1731"/>
              <a:gd name="T64" fmla="*/ 2276 w 2332"/>
              <a:gd name="T65" fmla="*/ 1105 h 1731"/>
              <a:gd name="T66" fmla="*/ 2087 w 2332"/>
              <a:gd name="T67" fmla="*/ 1362 h 1731"/>
              <a:gd name="T68" fmla="*/ 2005 w 2332"/>
              <a:gd name="T69" fmla="*/ 1432 h 1731"/>
              <a:gd name="T70" fmla="*/ 1838 w 2332"/>
              <a:gd name="T71" fmla="*/ 1591 h 1731"/>
              <a:gd name="T72" fmla="*/ 1749 w 2332"/>
              <a:gd name="T73" fmla="*/ 1676 h 1731"/>
              <a:gd name="T74" fmla="*/ 1589 w 2332"/>
              <a:gd name="T75" fmla="*/ 1726 h 1731"/>
              <a:gd name="T76" fmla="*/ 1517 w 2332"/>
              <a:gd name="T77" fmla="*/ 1693 h 1731"/>
              <a:gd name="T78" fmla="*/ 1410 w 2332"/>
              <a:gd name="T79" fmla="*/ 1729 h 1731"/>
              <a:gd name="T80" fmla="*/ 1297 w 2332"/>
              <a:gd name="T81" fmla="*/ 1693 h 1731"/>
              <a:gd name="T82" fmla="*/ 1279 w 2332"/>
              <a:gd name="T83" fmla="*/ 1614 h 1731"/>
              <a:gd name="T84" fmla="*/ 1263 w 2332"/>
              <a:gd name="T85" fmla="*/ 1516 h 1731"/>
              <a:gd name="T86" fmla="*/ 1225 w 2332"/>
              <a:gd name="T87" fmla="*/ 1500 h 1731"/>
              <a:gd name="T88" fmla="*/ 1280 w 2332"/>
              <a:gd name="T89" fmla="*/ 1382 h 1731"/>
              <a:gd name="T90" fmla="*/ 1088 w 2332"/>
              <a:gd name="T91" fmla="*/ 1362 h 1731"/>
              <a:gd name="T92" fmla="*/ 961 w 2332"/>
              <a:gd name="T93" fmla="*/ 1282 h 1731"/>
              <a:gd name="T94" fmla="*/ 754 w 2332"/>
              <a:gd name="T95" fmla="*/ 1323 h 1731"/>
              <a:gd name="T96" fmla="*/ 507 w 2332"/>
              <a:gd name="T97" fmla="*/ 1419 h 1731"/>
              <a:gd name="T98" fmla="*/ 214 w 2332"/>
              <a:gd name="T99" fmla="*/ 1473 h 1731"/>
              <a:gd name="T100" fmla="*/ 55 w 2332"/>
              <a:gd name="T101" fmla="*/ 1490 h 1731"/>
              <a:gd name="T102" fmla="*/ 2 w 2332"/>
              <a:gd name="T103" fmla="*/ 1423 h 1731"/>
              <a:gd name="T104" fmla="*/ 97 w 2332"/>
              <a:gd name="T105" fmla="*/ 1344 h 1731"/>
              <a:gd name="T106" fmla="*/ 75 w 2332"/>
              <a:gd name="T107" fmla="*/ 1241 h 1731"/>
              <a:gd name="T108" fmla="*/ 113 w 2332"/>
              <a:gd name="T109" fmla="*/ 1170 h 1731"/>
              <a:gd name="T110" fmla="*/ 58 w 2332"/>
              <a:gd name="T111" fmla="*/ 943 h 1731"/>
              <a:gd name="T112" fmla="*/ 113 w 2332"/>
              <a:gd name="T113" fmla="*/ 964 h 1731"/>
              <a:gd name="T114" fmla="*/ 106 w 2332"/>
              <a:gd name="T115" fmla="*/ 862 h 1731"/>
              <a:gd name="T116" fmla="*/ 147 w 2332"/>
              <a:gd name="T117" fmla="*/ 765 h 17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41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>
              <a:gd name="T0" fmla="*/ 1243 w 1535"/>
              <a:gd name="T1" fmla="*/ 925 h 1109"/>
              <a:gd name="T2" fmla="*/ 1299 w 1535"/>
              <a:gd name="T3" fmla="*/ 982 h 1109"/>
              <a:gd name="T4" fmla="*/ 1220 w 1535"/>
              <a:gd name="T5" fmla="*/ 999 h 1109"/>
              <a:gd name="T6" fmla="*/ 1177 w 1535"/>
              <a:gd name="T7" fmla="*/ 1095 h 1109"/>
              <a:gd name="T8" fmla="*/ 1065 w 1535"/>
              <a:gd name="T9" fmla="*/ 1006 h 1109"/>
              <a:gd name="T10" fmla="*/ 994 w 1535"/>
              <a:gd name="T11" fmla="*/ 1012 h 1109"/>
              <a:gd name="T12" fmla="*/ 913 w 1535"/>
              <a:gd name="T13" fmla="*/ 1039 h 1109"/>
              <a:gd name="T14" fmla="*/ 786 w 1535"/>
              <a:gd name="T15" fmla="*/ 971 h 1109"/>
              <a:gd name="T16" fmla="*/ 648 w 1535"/>
              <a:gd name="T17" fmla="*/ 917 h 1109"/>
              <a:gd name="T18" fmla="*/ 588 w 1535"/>
              <a:gd name="T19" fmla="*/ 883 h 1109"/>
              <a:gd name="T20" fmla="*/ 537 w 1535"/>
              <a:gd name="T21" fmla="*/ 835 h 1109"/>
              <a:gd name="T22" fmla="*/ 485 w 1535"/>
              <a:gd name="T23" fmla="*/ 826 h 1109"/>
              <a:gd name="T24" fmla="*/ 439 w 1535"/>
              <a:gd name="T25" fmla="*/ 757 h 1109"/>
              <a:gd name="T26" fmla="*/ 467 w 1535"/>
              <a:gd name="T27" fmla="*/ 705 h 1109"/>
              <a:gd name="T28" fmla="*/ 450 w 1535"/>
              <a:gd name="T29" fmla="*/ 601 h 1109"/>
              <a:gd name="T30" fmla="*/ 352 w 1535"/>
              <a:gd name="T31" fmla="*/ 468 h 1109"/>
              <a:gd name="T32" fmla="*/ 304 w 1535"/>
              <a:gd name="T33" fmla="*/ 426 h 1109"/>
              <a:gd name="T34" fmla="*/ 293 w 1535"/>
              <a:gd name="T35" fmla="*/ 369 h 1109"/>
              <a:gd name="T36" fmla="*/ 217 w 1535"/>
              <a:gd name="T37" fmla="*/ 248 h 1109"/>
              <a:gd name="T38" fmla="*/ 167 w 1535"/>
              <a:gd name="T39" fmla="*/ 74 h 1109"/>
              <a:gd name="T40" fmla="*/ 84 w 1535"/>
              <a:gd name="T41" fmla="*/ 104 h 1109"/>
              <a:gd name="T42" fmla="*/ 113 w 1535"/>
              <a:gd name="T43" fmla="*/ 222 h 1109"/>
              <a:gd name="T44" fmla="*/ 150 w 1535"/>
              <a:gd name="T45" fmla="*/ 326 h 1109"/>
              <a:gd name="T46" fmla="*/ 196 w 1535"/>
              <a:gd name="T47" fmla="*/ 402 h 1109"/>
              <a:gd name="T48" fmla="*/ 200 w 1535"/>
              <a:gd name="T49" fmla="*/ 465 h 1109"/>
              <a:gd name="T50" fmla="*/ 213 w 1535"/>
              <a:gd name="T51" fmla="*/ 524 h 1109"/>
              <a:gd name="T52" fmla="*/ 259 w 1535"/>
              <a:gd name="T53" fmla="*/ 571 h 1109"/>
              <a:gd name="T54" fmla="*/ 214 w 1535"/>
              <a:gd name="T55" fmla="*/ 596 h 1109"/>
              <a:gd name="T56" fmla="*/ 193 w 1535"/>
              <a:gd name="T57" fmla="*/ 542 h 1109"/>
              <a:gd name="T58" fmla="*/ 120 w 1535"/>
              <a:gd name="T59" fmla="*/ 474 h 1109"/>
              <a:gd name="T60" fmla="*/ 146 w 1535"/>
              <a:gd name="T61" fmla="*/ 420 h 1109"/>
              <a:gd name="T62" fmla="*/ 89 w 1535"/>
              <a:gd name="T63" fmla="*/ 366 h 1109"/>
              <a:gd name="T64" fmla="*/ 27 w 1535"/>
              <a:gd name="T65" fmla="*/ 307 h 1109"/>
              <a:gd name="T66" fmla="*/ 65 w 1535"/>
              <a:gd name="T67" fmla="*/ 289 h 1109"/>
              <a:gd name="T68" fmla="*/ 64 w 1535"/>
              <a:gd name="T69" fmla="*/ 225 h 1109"/>
              <a:gd name="T70" fmla="*/ 6 w 1535"/>
              <a:gd name="T71" fmla="*/ 117 h 1109"/>
              <a:gd name="T72" fmla="*/ 38 w 1535"/>
              <a:gd name="T73" fmla="*/ 5 h 1109"/>
              <a:gd name="T74" fmla="*/ 211 w 1535"/>
              <a:gd name="T75" fmla="*/ 18 h 1109"/>
              <a:gd name="T76" fmla="*/ 361 w 1535"/>
              <a:gd name="T77" fmla="*/ 76 h 1109"/>
              <a:gd name="T78" fmla="*/ 498 w 1535"/>
              <a:gd name="T79" fmla="*/ 55 h 1109"/>
              <a:gd name="T80" fmla="*/ 593 w 1535"/>
              <a:gd name="T81" fmla="*/ 54 h 1109"/>
              <a:gd name="T82" fmla="*/ 633 w 1535"/>
              <a:gd name="T83" fmla="*/ 110 h 1109"/>
              <a:gd name="T84" fmla="*/ 700 w 1535"/>
              <a:gd name="T85" fmla="*/ 215 h 1109"/>
              <a:gd name="T86" fmla="*/ 750 w 1535"/>
              <a:gd name="T87" fmla="*/ 192 h 1109"/>
              <a:gd name="T88" fmla="*/ 822 w 1535"/>
              <a:gd name="T89" fmla="*/ 176 h 1109"/>
              <a:gd name="T90" fmla="*/ 879 w 1535"/>
              <a:gd name="T91" fmla="*/ 244 h 1109"/>
              <a:gd name="T92" fmla="*/ 905 w 1535"/>
              <a:gd name="T93" fmla="*/ 362 h 1109"/>
              <a:gd name="T94" fmla="*/ 964 w 1535"/>
              <a:gd name="T95" fmla="*/ 405 h 1109"/>
              <a:gd name="T96" fmla="*/ 977 w 1535"/>
              <a:gd name="T97" fmla="*/ 456 h 1109"/>
              <a:gd name="T98" fmla="*/ 931 w 1535"/>
              <a:gd name="T99" fmla="*/ 492 h 1109"/>
              <a:gd name="T100" fmla="*/ 917 w 1535"/>
              <a:gd name="T101" fmla="*/ 634 h 1109"/>
              <a:gd name="T102" fmla="*/ 956 w 1535"/>
              <a:gd name="T103" fmla="*/ 791 h 1109"/>
              <a:gd name="T104" fmla="*/ 1054 w 1535"/>
              <a:gd name="T105" fmla="*/ 877 h 1109"/>
              <a:gd name="T106" fmla="*/ 1166 w 1535"/>
              <a:gd name="T107" fmla="*/ 849 h 1109"/>
              <a:gd name="T108" fmla="*/ 1249 w 1535"/>
              <a:gd name="T109" fmla="*/ 850 h 1109"/>
              <a:gd name="T110" fmla="*/ 1296 w 1535"/>
              <a:gd name="T111" fmla="*/ 742 h 1109"/>
              <a:gd name="T112" fmla="*/ 1336 w 1535"/>
              <a:gd name="T113" fmla="*/ 693 h 1109"/>
              <a:gd name="T114" fmla="*/ 1506 w 1535"/>
              <a:gd name="T115" fmla="*/ 678 h 1109"/>
              <a:gd name="T116" fmla="*/ 1503 w 1535"/>
              <a:gd name="T117" fmla="*/ 729 h 1109"/>
              <a:gd name="T118" fmla="*/ 1468 w 1535"/>
              <a:gd name="T119" fmla="*/ 821 h 1109"/>
              <a:gd name="T120" fmla="*/ 1369 w 1535"/>
              <a:gd name="T121" fmla="*/ 888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42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>
              <a:gd name="T0" fmla="*/ 14 w 486"/>
              <a:gd name="T1" fmla="*/ 176 h 505"/>
              <a:gd name="T2" fmla="*/ 31 w 486"/>
              <a:gd name="T3" fmla="*/ 198 h 505"/>
              <a:gd name="T4" fmla="*/ 51 w 486"/>
              <a:gd name="T5" fmla="*/ 232 h 505"/>
              <a:gd name="T6" fmla="*/ 82 w 486"/>
              <a:gd name="T7" fmla="*/ 266 h 505"/>
              <a:gd name="T8" fmla="*/ 126 w 486"/>
              <a:gd name="T9" fmla="*/ 293 h 505"/>
              <a:gd name="T10" fmla="*/ 170 w 486"/>
              <a:gd name="T11" fmla="*/ 310 h 505"/>
              <a:gd name="T12" fmla="*/ 246 w 486"/>
              <a:gd name="T13" fmla="*/ 328 h 505"/>
              <a:gd name="T14" fmla="*/ 295 w 486"/>
              <a:gd name="T15" fmla="*/ 344 h 505"/>
              <a:gd name="T16" fmla="*/ 299 w 486"/>
              <a:gd name="T17" fmla="*/ 381 h 505"/>
              <a:gd name="T18" fmla="*/ 277 w 486"/>
              <a:gd name="T19" fmla="*/ 418 h 505"/>
              <a:gd name="T20" fmla="*/ 267 w 486"/>
              <a:gd name="T21" fmla="*/ 443 h 505"/>
              <a:gd name="T22" fmla="*/ 266 w 486"/>
              <a:gd name="T23" fmla="*/ 463 h 505"/>
              <a:gd name="T24" fmla="*/ 278 w 486"/>
              <a:gd name="T25" fmla="*/ 482 h 505"/>
              <a:gd name="T26" fmla="*/ 299 w 486"/>
              <a:gd name="T27" fmla="*/ 494 h 505"/>
              <a:gd name="T28" fmla="*/ 344 w 486"/>
              <a:gd name="T29" fmla="*/ 504 h 505"/>
              <a:gd name="T30" fmla="*/ 387 w 486"/>
              <a:gd name="T31" fmla="*/ 504 h 505"/>
              <a:gd name="T32" fmla="*/ 415 w 486"/>
              <a:gd name="T33" fmla="*/ 494 h 505"/>
              <a:gd name="T34" fmla="*/ 446 w 486"/>
              <a:gd name="T35" fmla="*/ 474 h 505"/>
              <a:gd name="T36" fmla="*/ 473 w 486"/>
              <a:gd name="T37" fmla="*/ 447 h 505"/>
              <a:gd name="T38" fmla="*/ 485 w 486"/>
              <a:gd name="T39" fmla="*/ 418 h 505"/>
              <a:gd name="T40" fmla="*/ 484 w 486"/>
              <a:gd name="T41" fmla="*/ 397 h 505"/>
              <a:gd name="T42" fmla="*/ 478 w 486"/>
              <a:gd name="T43" fmla="*/ 358 h 505"/>
              <a:gd name="T44" fmla="*/ 471 w 486"/>
              <a:gd name="T45" fmla="*/ 316 h 505"/>
              <a:gd name="T46" fmla="*/ 465 w 486"/>
              <a:gd name="T47" fmla="*/ 270 h 505"/>
              <a:gd name="T48" fmla="*/ 456 w 486"/>
              <a:gd name="T49" fmla="*/ 252 h 505"/>
              <a:gd name="T50" fmla="*/ 439 w 486"/>
              <a:gd name="T51" fmla="*/ 239 h 505"/>
              <a:gd name="T52" fmla="*/ 413 w 486"/>
              <a:gd name="T53" fmla="*/ 232 h 505"/>
              <a:gd name="T54" fmla="*/ 392 w 486"/>
              <a:gd name="T55" fmla="*/ 222 h 505"/>
              <a:gd name="T56" fmla="*/ 370 w 486"/>
              <a:gd name="T57" fmla="*/ 207 h 505"/>
              <a:gd name="T58" fmla="*/ 330 w 486"/>
              <a:gd name="T59" fmla="*/ 188 h 505"/>
              <a:gd name="T60" fmla="*/ 290 w 486"/>
              <a:gd name="T61" fmla="*/ 172 h 505"/>
              <a:gd name="T62" fmla="*/ 273 w 486"/>
              <a:gd name="T63" fmla="*/ 160 h 505"/>
              <a:gd name="T64" fmla="*/ 264 w 486"/>
              <a:gd name="T65" fmla="*/ 151 h 505"/>
              <a:gd name="T66" fmla="*/ 261 w 486"/>
              <a:gd name="T67" fmla="*/ 125 h 505"/>
              <a:gd name="T68" fmla="*/ 261 w 486"/>
              <a:gd name="T69" fmla="*/ 90 h 505"/>
              <a:gd name="T70" fmla="*/ 255 w 486"/>
              <a:gd name="T71" fmla="*/ 71 h 505"/>
              <a:gd name="T72" fmla="*/ 241 w 486"/>
              <a:gd name="T73" fmla="*/ 55 h 505"/>
              <a:gd name="T74" fmla="*/ 234 w 486"/>
              <a:gd name="T75" fmla="*/ 37 h 505"/>
              <a:gd name="T76" fmla="*/ 199 w 486"/>
              <a:gd name="T77" fmla="*/ 12 h 505"/>
              <a:gd name="T78" fmla="*/ 186 w 486"/>
              <a:gd name="T79" fmla="*/ 8 h 505"/>
              <a:gd name="T80" fmla="*/ 173 w 486"/>
              <a:gd name="T81" fmla="*/ 2 h 505"/>
              <a:gd name="T82" fmla="*/ 139 w 486"/>
              <a:gd name="T83" fmla="*/ 1 h 505"/>
              <a:gd name="T84" fmla="*/ 70 w 486"/>
              <a:gd name="T85" fmla="*/ 11 h 505"/>
              <a:gd name="T86" fmla="*/ 42 w 486"/>
              <a:gd name="T87" fmla="*/ 21 h 505"/>
              <a:gd name="T88" fmla="*/ 24 w 486"/>
              <a:gd name="T89" fmla="*/ 37 h 505"/>
              <a:gd name="T90" fmla="*/ 20 w 486"/>
              <a:gd name="T91" fmla="*/ 6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43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>
              <a:gd name="T0" fmla="*/ 7 w 166"/>
              <a:gd name="T1" fmla="*/ 183 h 208"/>
              <a:gd name="T2" fmla="*/ 79 w 166"/>
              <a:gd name="T3" fmla="*/ 208 h 208"/>
              <a:gd name="T4" fmla="*/ 85 w 166"/>
              <a:gd name="T5" fmla="*/ 207 h 208"/>
              <a:gd name="T6" fmla="*/ 90 w 166"/>
              <a:gd name="T7" fmla="*/ 204 h 208"/>
              <a:gd name="T8" fmla="*/ 97 w 166"/>
              <a:gd name="T9" fmla="*/ 198 h 208"/>
              <a:gd name="T10" fmla="*/ 104 w 166"/>
              <a:gd name="T11" fmla="*/ 192 h 208"/>
              <a:gd name="T12" fmla="*/ 117 w 166"/>
              <a:gd name="T13" fmla="*/ 176 h 208"/>
              <a:gd name="T14" fmla="*/ 130 w 166"/>
              <a:gd name="T15" fmla="*/ 158 h 208"/>
              <a:gd name="T16" fmla="*/ 154 w 166"/>
              <a:gd name="T17" fmla="*/ 122 h 208"/>
              <a:gd name="T18" fmla="*/ 166 w 166"/>
              <a:gd name="T19" fmla="*/ 103 h 208"/>
              <a:gd name="T20" fmla="*/ 144 w 166"/>
              <a:gd name="T21" fmla="*/ 94 h 208"/>
              <a:gd name="T22" fmla="*/ 126 w 166"/>
              <a:gd name="T23" fmla="*/ 84 h 208"/>
              <a:gd name="T24" fmla="*/ 108 w 166"/>
              <a:gd name="T25" fmla="*/ 74 h 208"/>
              <a:gd name="T26" fmla="*/ 93 w 166"/>
              <a:gd name="T27" fmla="*/ 64 h 208"/>
              <a:gd name="T28" fmla="*/ 86 w 166"/>
              <a:gd name="T29" fmla="*/ 58 h 208"/>
              <a:gd name="T30" fmla="*/ 81 w 166"/>
              <a:gd name="T31" fmla="*/ 53 h 208"/>
              <a:gd name="T32" fmla="*/ 75 w 166"/>
              <a:gd name="T33" fmla="*/ 47 h 208"/>
              <a:gd name="T34" fmla="*/ 71 w 166"/>
              <a:gd name="T35" fmla="*/ 40 h 208"/>
              <a:gd name="T36" fmla="*/ 67 w 166"/>
              <a:gd name="T37" fmla="*/ 33 h 208"/>
              <a:gd name="T38" fmla="*/ 64 w 166"/>
              <a:gd name="T39" fmla="*/ 26 h 208"/>
              <a:gd name="T40" fmla="*/ 62 w 166"/>
              <a:gd name="T41" fmla="*/ 18 h 208"/>
              <a:gd name="T42" fmla="*/ 60 w 166"/>
              <a:gd name="T43" fmla="*/ 11 h 208"/>
              <a:gd name="T44" fmla="*/ 50 w 166"/>
              <a:gd name="T45" fmla="*/ 10 h 208"/>
              <a:gd name="T46" fmla="*/ 43 w 166"/>
              <a:gd name="T47" fmla="*/ 8 h 208"/>
              <a:gd name="T48" fmla="*/ 40 w 166"/>
              <a:gd name="T49" fmla="*/ 5 h 208"/>
              <a:gd name="T50" fmla="*/ 39 w 166"/>
              <a:gd name="T51" fmla="*/ 3 h 208"/>
              <a:gd name="T52" fmla="*/ 38 w 166"/>
              <a:gd name="T53" fmla="*/ 1 h 208"/>
              <a:gd name="T54" fmla="*/ 36 w 166"/>
              <a:gd name="T55" fmla="*/ 0 h 208"/>
              <a:gd name="T56" fmla="*/ 32 w 166"/>
              <a:gd name="T57" fmla="*/ 1 h 208"/>
              <a:gd name="T58" fmla="*/ 27 w 166"/>
              <a:gd name="T59" fmla="*/ 5 h 208"/>
              <a:gd name="T60" fmla="*/ 20 w 166"/>
              <a:gd name="T61" fmla="*/ 11 h 208"/>
              <a:gd name="T62" fmla="*/ 11 w 166"/>
              <a:gd name="T63" fmla="*/ 22 h 208"/>
              <a:gd name="T64" fmla="*/ 7 w 166"/>
              <a:gd name="T65" fmla="*/ 29 h 208"/>
              <a:gd name="T66" fmla="*/ 4 w 166"/>
              <a:gd name="T67" fmla="*/ 37 h 208"/>
              <a:gd name="T68" fmla="*/ 2 w 166"/>
              <a:gd name="T69" fmla="*/ 45 h 208"/>
              <a:gd name="T70" fmla="*/ 0 w 166"/>
              <a:gd name="T71" fmla="*/ 54 h 208"/>
              <a:gd name="T72" fmla="*/ 0 w 166"/>
              <a:gd name="T73" fmla="*/ 60 h 208"/>
              <a:gd name="T74" fmla="*/ 2 w 166"/>
              <a:gd name="T75" fmla="*/ 65 h 208"/>
              <a:gd name="T76" fmla="*/ 3 w 166"/>
              <a:gd name="T77" fmla="*/ 70 h 208"/>
              <a:gd name="T78" fmla="*/ 5 w 166"/>
              <a:gd name="T79" fmla="*/ 76 h 208"/>
              <a:gd name="T80" fmla="*/ 10 w 166"/>
              <a:gd name="T81" fmla="*/ 86 h 208"/>
              <a:gd name="T82" fmla="*/ 17 w 166"/>
              <a:gd name="T83" fmla="*/ 98 h 208"/>
              <a:gd name="T84" fmla="*/ 22 w 166"/>
              <a:gd name="T85" fmla="*/ 109 h 208"/>
              <a:gd name="T86" fmla="*/ 28 w 166"/>
              <a:gd name="T87" fmla="*/ 120 h 208"/>
              <a:gd name="T88" fmla="*/ 30 w 166"/>
              <a:gd name="T89" fmla="*/ 126 h 208"/>
              <a:gd name="T90" fmla="*/ 32 w 166"/>
              <a:gd name="T91" fmla="*/ 133 h 208"/>
              <a:gd name="T92" fmla="*/ 33 w 166"/>
              <a:gd name="T93" fmla="*/ 139 h 208"/>
              <a:gd name="T94" fmla="*/ 33 w 166"/>
              <a:gd name="T95" fmla="*/ 147 h 208"/>
              <a:gd name="T96" fmla="*/ 32 w 166"/>
              <a:gd name="T97" fmla="*/ 153 h 208"/>
              <a:gd name="T98" fmla="*/ 31 w 166"/>
              <a:gd name="T99" fmla="*/ 159 h 208"/>
              <a:gd name="T100" fmla="*/ 28 w 166"/>
              <a:gd name="T101" fmla="*/ 165 h 208"/>
              <a:gd name="T102" fmla="*/ 25 w 166"/>
              <a:gd name="T103" fmla="*/ 169 h 208"/>
              <a:gd name="T104" fmla="*/ 21 w 166"/>
              <a:gd name="T105" fmla="*/ 174 h 208"/>
              <a:gd name="T106" fmla="*/ 17 w 166"/>
              <a:gd name="T107" fmla="*/ 177 h 208"/>
              <a:gd name="T108" fmla="*/ 11 w 166"/>
              <a:gd name="T109" fmla="*/ 180 h 208"/>
              <a:gd name="T110" fmla="*/ 7 w 166"/>
              <a:gd name="T111" fmla="*/ 183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44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>
              <a:gd name="T0" fmla="*/ 153 w 164"/>
              <a:gd name="T1" fmla="*/ 104 h 104"/>
              <a:gd name="T2" fmla="*/ 134 w 164"/>
              <a:gd name="T3" fmla="*/ 102 h 104"/>
              <a:gd name="T4" fmla="*/ 110 w 164"/>
              <a:gd name="T5" fmla="*/ 97 h 104"/>
              <a:gd name="T6" fmla="*/ 96 w 164"/>
              <a:gd name="T7" fmla="*/ 94 h 104"/>
              <a:gd name="T8" fmla="*/ 80 w 164"/>
              <a:gd name="T9" fmla="*/ 93 h 104"/>
              <a:gd name="T10" fmla="*/ 73 w 164"/>
              <a:gd name="T11" fmla="*/ 93 h 104"/>
              <a:gd name="T12" fmla="*/ 64 w 164"/>
              <a:gd name="T13" fmla="*/ 94 h 104"/>
              <a:gd name="T14" fmla="*/ 55 w 164"/>
              <a:gd name="T15" fmla="*/ 96 h 104"/>
              <a:gd name="T16" fmla="*/ 47 w 164"/>
              <a:gd name="T17" fmla="*/ 98 h 104"/>
              <a:gd name="T18" fmla="*/ 41 w 164"/>
              <a:gd name="T19" fmla="*/ 100 h 104"/>
              <a:gd name="T20" fmla="*/ 34 w 164"/>
              <a:gd name="T21" fmla="*/ 100 h 104"/>
              <a:gd name="T22" fmla="*/ 27 w 164"/>
              <a:gd name="T23" fmla="*/ 99 h 104"/>
              <a:gd name="T24" fmla="*/ 19 w 164"/>
              <a:gd name="T25" fmla="*/ 96 h 104"/>
              <a:gd name="T26" fmla="*/ 11 w 164"/>
              <a:gd name="T27" fmla="*/ 92 h 104"/>
              <a:gd name="T28" fmla="*/ 6 w 164"/>
              <a:gd name="T29" fmla="*/ 88 h 104"/>
              <a:gd name="T30" fmla="*/ 3 w 164"/>
              <a:gd name="T31" fmla="*/ 86 h 104"/>
              <a:gd name="T32" fmla="*/ 1 w 164"/>
              <a:gd name="T33" fmla="*/ 84 h 104"/>
              <a:gd name="T34" fmla="*/ 0 w 164"/>
              <a:gd name="T35" fmla="*/ 81 h 104"/>
              <a:gd name="T36" fmla="*/ 0 w 164"/>
              <a:gd name="T37" fmla="*/ 79 h 104"/>
              <a:gd name="T38" fmla="*/ 0 w 164"/>
              <a:gd name="T39" fmla="*/ 76 h 104"/>
              <a:gd name="T40" fmla="*/ 1 w 164"/>
              <a:gd name="T41" fmla="*/ 74 h 104"/>
              <a:gd name="T42" fmla="*/ 3 w 164"/>
              <a:gd name="T43" fmla="*/ 71 h 104"/>
              <a:gd name="T44" fmla="*/ 6 w 164"/>
              <a:gd name="T45" fmla="*/ 70 h 104"/>
              <a:gd name="T46" fmla="*/ 12 w 164"/>
              <a:gd name="T47" fmla="*/ 67 h 104"/>
              <a:gd name="T48" fmla="*/ 20 w 164"/>
              <a:gd name="T49" fmla="*/ 66 h 104"/>
              <a:gd name="T50" fmla="*/ 40 w 164"/>
              <a:gd name="T51" fmla="*/ 66 h 104"/>
              <a:gd name="T52" fmla="*/ 61 w 164"/>
              <a:gd name="T53" fmla="*/ 67 h 104"/>
              <a:gd name="T54" fmla="*/ 70 w 164"/>
              <a:gd name="T55" fmla="*/ 67 h 104"/>
              <a:gd name="T56" fmla="*/ 79 w 164"/>
              <a:gd name="T57" fmla="*/ 67 h 104"/>
              <a:gd name="T58" fmla="*/ 87 w 164"/>
              <a:gd name="T59" fmla="*/ 67 h 104"/>
              <a:gd name="T60" fmla="*/ 94 w 164"/>
              <a:gd name="T61" fmla="*/ 67 h 104"/>
              <a:gd name="T62" fmla="*/ 94 w 164"/>
              <a:gd name="T63" fmla="*/ 56 h 104"/>
              <a:gd name="T64" fmla="*/ 94 w 164"/>
              <a:gd name="T65" fmla="*/ 43 h 104"/>
              <a:gd name="T66" fmla="*/ 94 w 164"/>
              <a:gd name="T67" fmla="*/ 29 h 104"/>
              <a:gd name="T68" fmla="*/ 94 w 164"/>
              <a:gd name="T69" fmla="*/ 18 h 104"/>
              <a:gd name="T70" fmla="*/ 79 w 164"/>
              <a:gd name="T71" fmla="*/ 17 h 104"/>
              <a:gd name="T72" fmla="*/ 67 w 164"/>
              <a:gd name="T73" fmla="*/ 15 h 104"/>
              <a:gd name="T74" fmla="*/ 62 w 164"/>
              <a:gd name="T75" fmla="*/ 13 h 104"/>
              <a:gd name="T76" fmla="*/ 57 w 164"/>
              <a:gd name="T77" fmla="*/ 10 h 104"/>
              <a:gd name="T78" fmla="*/ 52 w 164"/>
              <a:gd name="T79" fmla="*/ 6 h 104"/>
              <a:gd name="T80" fmla="*/ 47 w 164"/>
              <a:gd name="T81" fmla="*/ 0 h 104"/>
              <a:gd name="T82" fmla="*/ 146 w 164"/>
              <a:gd name="T83" fmla="*/ 0 h 104"/>
              <a:gd name="T84" fmla="*/ 147 w 164"/>
              <a:gd name="T85" fmla="*/ 6 h 104"/>
              <a:gd name="T86" fmla="*/ 148 w 164"/>
              <a:gd name="T87" fmla="*/ 13 h 104"/>
              <a:gd name="T88" fmla="*/ 150 w 164"/>
              <a:gd name="T89" fmla="*/ 19 h 104"/>
              <a:gd name="T90" fmla="*/ 152 w 164"/>
              <a:gd name="T91" fmla="*/ 25 h 104"/>
              <a:gd name="T92" fmla="*/ 156 w 164"/>
              <a:gd name="T93" fmla="*/ 35 h 104"/>
              <a:gd name="T94" fmla="*/ 159 w 164"/>
              <a:gd name="T95" fmla="*/ 46 h 104"/>
              <a:gd name="T96" fmla="*/ 163 w 164"/>
              <a:gd name="T97" fmla="*/ 54 h 104"/>
              <a:gd name="T98" fmla="*/ 164 w 164"/>
              <a:gd name="T99" fmla="*/ 62 h 104"/>
              <a:gd name="T100" fmla="*/ 163 w 164"/>
              <a:gd name="T101" fmla="*/ 65 h 104"/>
              <a:gd name="T102" fmla="*/ 160 w 164"/>
              <a:gd name="T103" fmla="*/ 68 h 104"/>
              <a:gd name="T104" fmla="*/ 157 w 164"/>
              <a:gd name="T105" fmla="*/ 71 h 104"/>
              <a:gd name="T106" fmla="*/ 153 w 164"/>
              <a:gd name="T107" fmla="*/ 73 h 104"/>
              <a:gd name="T108" fmla="*/ 153 w 164"/>
              <a:gd name="T109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45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46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1 w 80"/>
              <a:gd name="T3" fmla="*/ 6 h 18"/>
              <a:gd name="T4" fmla="*/ 5 w 80"/>
              <a:gd name="T5" fmla="*/ 12 h 18"/>
              <a:gd name="T6" fmla="*/ 8 w 80"/>
              <a:gd name="T7" fmla="*/ 14 h 18"/>
              <a:gd name="T8" fmla="*/ 11 w 80"/>
              <a:gd name="T9" fmla="*/ 16 h 18"/>
              <a:gd name="T10" fmla="*/ 15 w 80"/>
              <a:gd name="T11" fmla="*/ 18 h 18"/>
              <a:gd name="T12" fmla="*/ 20 w 80"/>
              <a:gd name="T13" fmla="*/ 18 h 18"/>
              <a:gd name="T14" fmla="*/ 22 w 80"/>
              <a:gd name="T15" fmla="*/ 15 h 18"/>
              <a:gd name="T16" fmla="*/ 24 w 80"/>
              <a:gd name="T17" fmla="*/ 13 h 18"/>
              <a:gd name="T18" fmla="*/ 26 w 80"/>
              <a:gd name="T19" fmla="*/ 11 h 18"/>
              <a:gd name="T20" fmla="*/ 31 w 80"/>
              <a:gd name="T21" fmla="*/ 10 h 18"/>
              <a:gd name="T22" fmla="*/ 38 w 80"/>
              <a:gd name="T23" fmla="*/ 8 h 18"/>
              <a:gd name="T24" fmla="*/ 47 w 80"/>
              <a:gd name="T25" fmla="*/ 7 h 18"/>
              <a:gd name="T26" fmla="*/ 57 w 80"/>
              <a:gd name="T27" fmla="*/ 7 h 18"/>
              <a:gd name="T28" fmla="*/ 66 w 80"/>
              <a:gd name="T29" fmla="*/ 6 h 18"/>
              <a:gd name="T30" fmla="*/ 70 w 80"/>
              <a:gd name="T31" fmla="*/ 5 h 18"/>
              <a:gd name="T32" fmla="*/ 74 w 80"/>
              <a:gd name="T33" fmla="*/ 4 h 18"/>
              <a:gd name="T34" fmla="*/ 77 w 80"/>
              <a:gd name="T35" fmla="*/ 2 h 18"/>
              <a:gd name="T36" fmla="*/ 80 w 80"/>
              <a:gd name="T37" fmla="*/ 0 h 18"/>
              <a:gd name="T38" fmla="*/ 0 w 80"/>
              <a:gd name="T3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47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>
              <a:gd name="T0" fmla="*/ 20 w 46"/>
              <a:gd name="T1" fmla="*/ 0 h 27"/>
              <a:gd name="T2" fmla="*/ 0 w 46"/>
              <a:gd name="T3" fmla="*/ 18 h 27"/>
              <a:gd name="T4" fmla="*/ 9 w 46"/>
              <a:gd name="T5" fmla="*/ 22 h 27"/>
              <a:gd name="T6" fmla="*/ 16 w 46"/>
              <a:gd name="T7" fmla="*/ 25 h 27"/>
              <a:gd name="T8" fmla="*/ 23 w 46"/>
              <a:gd name="T9" fmla="*/ 27 h 27"/>
              <a:gd name="T10" fmla="*/ 29 w 46"/>
              <a:gd name="T11" fmla="*/ 27 h 27"/>
              <a:gd name="T12" fmla="*/ 33 w 46"/>
              <a:gd name="T13" fmla="*/ 27 h 27"/>
              <a:gd name="T14" fmla="*/ 37 w 46"/>
              <a:gd name="T15" fmla="*/ 25 h 27"/>
              <a:gd name="T16" fmla="*/ 42 w 46"/>
              <a:gd name="T17" fmla="*/ 22 h 27"/>
              <a:gd name="T18" fmla="*/ 46 w 46"/>
              <a:gd name="T19" fmla="*/ 18 h 27"/>
              <a:gd name="T20" fmla="*/ 41 w 46"/>
              <a:gd name="T21" fmla="*/ 16 h 27"/>
              <a:gd name="T22" fmla="*/ 33 w 46"/>
              <a:gd name="T23" fmla="*/ 11 h 27"/>
              <a:gd name="T24" fmla="*/ 26 w 46"/>
              <a:gd name="T25" fmla="*/ 5 h 27"/>
              <a:gd name="T26" fmla="*/ 20 w 46"/>
              <a:gd name="T27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48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>
              <a:gd name="T0" fmla="*/ 34 w 54"/>
              <a:gd name="T1" fmla="*/ 0 h 39"/>
              <a:gd name="T2" fmla="*/ 20 w 54"/>
              <a:gd name="T3" fmla="*/ 4 h 39"/>
              <a:gd name="T4" fmla="*/ 10 w 54"/>
              <a:gd name="T5" fmla="*/ 10 h 39"/>
              <a:gd name="T6" fmla="*/ 6 w 54"/>
              <a:gd name="T7" fmla="*/ 13 h 39"/>
              <a:gd name="T8" fmla="*/ 4 w 54"/>
              <a:gd name="T9" fmla="*/ 16 h 39"/>
              <a:gd name="T10" fmla="*/ 2 w 54"/>
              <a:gd name="T11" fmla="*/ 20 h 39"/>
              <a:gd name="T12" fmla="*/ 0 w 54"/>
              <a:gd name="T13" fmla="*/ 24 h 39"/>
              <a:gd name="T14" fmla="*/ 2 w 54"/>
              <a:gd name="T15" fmla="*/ 28 h 39"/>
              <a:gd name="T16" fmla="*/ 3 w 54"/>
              <a:gd name="T17" fmla="*/ 32 h 39"/>
              <a:gd name="T18" fmla="*/ 5 w 54"/>
              <a:gd name="T19" fmla="*/ 35 h 39"/>
              <a:gd name="T20" fmla="*/ 8 w 54"/>
              <a:gd name="T21" fmla="*/ 37 h 39"/>
              <a:gd name="T22" fmla="*/ 11 w 54"/>
              <a:gd name="T23" fmla="*/ 38 h 39"/>
              <a:gd name="T24" fmla="*/ 16 w 54"/>
              <a:gd name="T25" fmla="*/ 39 h 39"/>
              <a:gd name="T26" fmla="*/ 20 w 54"/>
              <a:gd name="T27" fmla="*/ 39 h 39"/>
              <a:gd name="T28" fmla="*/ 25 w 54"/>
              <a:gd name="T29" fmla="*/ 39 h 39"/>
              <a:gd name="T30" fmla="*/ 30 w 54"/>
              <a:gd name="T31" fmla="*/ 38 h 39"/>
              <a:gd name="T32" fmla="*/ 34 w 54"/>
              <a:gd name="T33" fmla="*/ 37 h 39"/>
              <a:gd name="T34" fmla="*/ 39 w 54"/>
              <a:gd name="T35" fmla="*/ 35 h 39"/>
              <a:gd name="T36" fmla="*/ 43 w 54"/>
              <a:gd name="T37" fmla="*/ 33 h 39"/>
              <a:gd name="T38" fmla="*/ 47 w 54"/>
              <a:gd name="T39" fmla="*/ 30 h 39"/>
              <a:gd name="T40" fmla="*/ 50 w 54"/>
              <a:gd name="T41" fmla="*/ 26 h 39"/>
              <a:gd name="T42" fmla="*/ 52 w 54"/>
              <a:gd name="T43" fmla="*/ 22 h 39"/>
              <a:gd name="T44" fmla="*/ 54 w 54"/>
              <a:gd name="T45" fmla="*/ 18 h 39"/>
              <a:gd name="T46" fmla="*/ 51 w 54"/>
              <a:gd name="T47" fmla="*/ 17 h 39"/>
              <a:gd name="T48" fmla="*/ 48 w 54"/>
              <a:gd name="T49" fmla="*/ 16 h 39"/>
              <a:gd name="T50" fmla="*/ 44 w 54"/>
              <a:gd name="T51" fmla="*/ 14 h 39"/>
              <a:gd name="T52" fmla="*/ 42 w 54"/>
              <a:gd name="T53" fmla="*/ 11 h 39"/>
              <a:gd name="T54" fmla="*/ 39 w 54"/>
              <a:gd name="T55" fmla="*/ 8 h 39"/>
              <a:gd name="T56" fmla="*/ 37 w 54"/>
              <a:gd name="T57" fmla="*/ 5 h 39"/>
              <a:gd name="T58" fmla="*/ 34 w 54"/>
              <a:gd name="T59" fmla="*/ 2 h 39"/>
              <a:gd name="T60" fmla="*/ 34 w 54"/>
              <a:gd name="T61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49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>
              <a:gd name="T0" fmla="*/ 0 w 60"/>
              <a:gd name="T1" fmla="*/ 11 h 15"/>
              <a:gd name="T2" fmla="*/ 10 w 60"/>
              <a:gd name="T3" fmla="*/ 13 h 15"/>
              <a:gd name="T4" fmla="*/ 18 w 60"/>
              <a:gd name="T5" fmla="*/ 14 h 15"/>
              <a:gd name="T6" fmla="*/ 27 w 60"/>
              <a:gd name="T7" fmla="*/ 15 h 15"/>
              <a:gd name="T8" fmla="*/ 35 w 60"/>
              <a:gd name="T9" fmla="*/ 15 h 15"/>
              <a:gd name="T10" fmla="*/ 41 w 60"/>
              <a:gd name="T11" fmla="*/ 14 h 15"/>
              <a:gd name="T12" fmla="*/ 48 w 60"/>
              <a:gd name="T13" fmla="*/ 12 h 15"/>
              <a:gd name="T14" fmla="*/ 55 w 60"/>
              <a:gd name="T15" fmla="*/ 9 h 15"/>
              <a:gd name="T16" fmla="*/ 60 w 60"/>
              <a:gd name="T17" fmla="*/ 5 h 15"/>
              <a:gd name="T18" fmla="*/ 57 w 60"/>
              <a:gd name="T19" fmla="*/ 3 h 15"/>
              <a:gd name="T20" fmla="*/ 54 w 60"/>
              <a:gd name="T21" fmla="*/ 0 h 15"/>
              <a:gd name="T22" fmla="*/ 51 w 60"/>
              <a:gd name="T23" fmla="*/ 0 h 15"/>
              <a:gd name="T24" fmla="*/ 47 w 60"/>
              <a:gd name="T25" fmla="*/ 0 h 15"/>
              <a:gd name="T26" fmla="*/ 40 w 60"/>
              <a:gd name="T27" fmla="*/ 0 h 15"/>
              <a:gd name="T28" fmla="*/ 33 w 60"/>
              <a:gd name="T29" fmla="*/ 3 h 15"/>
              <a:gd name="T30" fmla="*/ 24 w 60"/>
              <a:gd name="T31" fmla="*/ 6 h 15"/>
              <a:gd name="T32" fmla="*/ 16 w 60"/>
              <a:gd name="T33" fmla="*/ 8 h 15"/>
              <a:gd name="T34" fmla="*/ 7 w 60"/>
              <a:gd name="T35" fmla="*/ 10 h 15"/>
              <a:gd name="T36" fmla="*/ 0 w 60"/>
              <a:gd name="T37" fmla="*/ 1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50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>
              <a:gd name="T0" fmla="*/ 40 w 79"/>
              <a:gd name="T1" fmla="*/ 0 h 32"/>
              <a:gd name="T2" fmla="*/ 34 w 79"/>
              <a:gd name="T3" fmla="*/ 1 h 32"/>
              <a:gd name="T4" fmla="*/ 30 w 79"/>
              <a:gd name="T5" fmla="*/ 2 h 32"/>
              <a:gd name="T6" fmla="*/ 25 w 79"/>
              <a:gd name="T7" fmla="*/ 4 h 32"/>
              <a:gd name="T8" fmla="*/ 20 w 79"/>
              <a:gd name="T9" fmla="*/ 6 h 32"/>
              <a:gd name="T10" fmla="*/ 15 w 79"/>
              <a:gd name="T11" fmla="*/ 9 h 32"/>
              <a:gd name="T12" fmla="*/ 10 w 79"/>
              <a:gd name="T13" fmla="*/ 11 h 32"/>
              <a:gd name="T14" fmla="*/ 5 w 79"/>
              <a:gd name="T15" fmla="*/ 12 h 32"/>
              <a:gd name="T16" fmla="*/ 0 w 79"/>
              <a:gd name="T17" fmla="*/ 13 h 32"/>
              <a:gd name="T18" fmla="*/ 5 w 79"/>
              <a:gd name="T19" fmla="*/ 21 h 32"/>
              <a:gd name="T20" fmla="*/ 10 w 79"/>
              <a:gd name="T21" fmla="*/ 26 h 32"/>
              <a:gd name="T22" fmla="*/ 12 w 79"/>
              <a:gd name="T23" fmla="*/ 29 h 32"/>
              <a:gd name="T24" fmla="*/ 15 w 79"/>
              <a:gd name="T25" fmla="*/ 31 h 32"/>
              <a:gd name="T26" fmla="*/ 18 w 79"/>
              <a:gd name="T27" fmla="*/ 31 h 32"/>
              <a:gd name="T28" fmla="*/ 20 w 79"/>
              <a:gd name="T29" fmla="*/ 32 h 32"/>
              <a:gd name="T30" fmla="*/ 27 w 79"/>
              <a:gd name="T31" fmla="*/ 31 h 32"/>
              <a:gd name="T32" fmla="*/ 34 w 79"/>
              <a:gd name="T33" fmla="*/ 30 h 32"/>
              <a:gd name="T34" fmla="*/ 41 w 79"/>
              <a:gd name="T35" fmla="*/ 27 h 32"/>
              <a:gd name="T36" fmla="*/ 48 w 79"/>
              <a:gd name="T37" fmla="*/ 24 h 32"/>
              <a:gd name="T38" fmla="*/ 62 w 79"/>
              <a:gd name="T39" fmla="*/ 18 h 32"/>
              <a:gd name="T40" fmla="*/ 79 w 79"/>
              <a:gd name="T41" fmla="*/ 13 h 32"/>
              <a:gd name="T42" fmla="*/ 67 w 79"/>
              <a:gd name="T43" fmla="*/ 6 h 32"/>
              <a:gd name="T44" fmla="*/ 58 w 79"/>
              <a:gd name="T45" fmla="*/ 2 h 32"/>
              <a:gd name="T46" fmla="*/ 49 w 79"/>
              <a:gd name="T47" fmla="*/ 1 h 32"/>
              <a:gd name="T48" fmla="*/ 40 w 79"/>
              <a:gd name="T49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51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>
              <a:gd name="T0" fmla="*/ 33 w 66"/>
              <a:gd name="T1" fmla="*/ 0 h 19"/>
              <a:gd name="T2" fmla="*/ 25 w 66"/>
              <a:gd name="T3" fmla="*/ 1 h 19"/>
              <a:gd name="T4" fmla="*/ 19 w 66"/>
              <a:gd name="T5" fmla="*/ 2 h 19"/>
              <a:gd name="T6" fmla="*/ 13 w 66"/>
              <a:gd name="T7" fmla="*/ 4 h 19"/>
              <a:gd name="T8" fmla="*/ 9 w 66"/>
              <a:gd name="T9" fmla="*/ 7 h 19"/>
              <a:gd name="T10" fmla="*/ 5 w 66"/>
              <a:gd name="T11" fmla="*/ 11 h 19"/>
              <a:gd name="T12" fmla="*/ 2 w 66"/>
              <a:gd name="T13" fmla="*/ 14 h 19"/>
              <a:gd name="T14" fmla="*/ 0 w 66"/>
              <a:gd name="T15" fmla="*/ 17 h 19"/>
              <a:gd name="T16" fmla="*/ 0 w 66"/>
              <a:gd name="T17" fmla="*/ 19 h 19"/>
              <a:gd name="T18" fmla="*/ 19 w 66"/>
              <a:gd name="T19" fmla="*/ 19 h 19"/>
              <a:gd name="T20" fmla="*/ 38 w 66"/>
              <a:gd name="T21" fmla="*/ 19 h 19"/>
              <a:gd name="T22" fmla="*/ 46 w 66"/>
              <a:gd name="T23" fmla="*/ 18 h 19"/>
              <a:gd name="T24" fmla="*/ 54 w 66"/>
              <a:gd name="T25" fmla="*/ 17 h 19"/>
              <a:gd name="T26" fmla="*/ 61 w 66"/>
              <a:gd name="T27" fmla="*/ 15 h 19"/>
              <a:gd name="T28" fmla="*/ 66 w 66"/>
              <a:gd name="T29" fmla="*/ 13 h 19"/>
              <a:gd name="T30" fmla="*/ 57 w 66"/>
              <a:gd name="T31" fmla="*/ 8 h 19"/>
              <a:gd name="T32" fmla="*/ 50 w 66"/>
              <a:gd name="T33" fmla="*/ 4 h 19"/>
              <a:gd name="T34" fmla="*/ 42 w 66"/>
              <a:gd name="T35" fmla="*/ 1 h 19"/>
              <a:gd name="T36" fmla="*/ 33 w 66"/>
              <a:gd name="T3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52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>
              <a:gd name="T0" fmla="*/ 13 w 53"/>
              <a:gd name="T1" fmla="*/ 0 h 80"/>
              <a:gd name="T2" fmla="*/ 8 w 53"/>
              <a:gd name="T3" fmla="*/ 5 h 80"/>
              <a:gd name="T4" fmla="*/ 4 w 53"/>
              <a:gd name="T5" fmla="*/ 10 h 80"/>
              <a:gd name="T6" fmla="*/ 2 w 53"/>
              <a:gd name="T7" fmla="*/ 13 h 80"/>
              <a:gd name="T8" fmla="*/ 1 w 53"/>
              <a:gd name="T9" fmla="*/ 16 h 80"/>
              <a:gd name="T10" fmla="*/ 0 w 53"/>
              <a:gd name="T11" fmla="*/ 20 h 80"/>
              <a:gd name="T12" fmla="*/ 0 w 53"/>
              <a:gd name="T13" fmla="*/ 25 h 80"/>
              <a:gd name="T14" fmla="*/ 0 w 53"/>
              <a:gd name="T15" fmla="*/ 30 h 80"/>
              <a:gd name="T16" fmla="*/ 2 w 53"/>
              <a:gd name="T17" fmla="*/ 39 h 80"/>
              <a:gd name="T18" fmla="*/ 6 w 53"/>
              <a:gd name="T19" fmla="*/ 48 h 80"/>
              <a:gd name="T20" fmla="*/ 9 w 53"/>
              <a:gd name="T21" fmla="*/ 57 h 80"/>
              <a:gd name="T22" fmla="*/ 13 w 53"/>
              <a:gd name="T23" fmla="*/ 66 h 80"/>
              <a:gd name="T24" fmla="*/ 20 w 53"/>
              <a:gd name="T25" fmla="*/ 73 h 80"/>
              <a:gd name="T26" fmla="*/ 22 w 53"/>
              <a:gd name="T27" fmla="*/ 76 h 80"/>
              <a:gd name="T28" fmla="*/ 26 w 53"/>
              <a:gd name="T29" fmla="*/ 78 h 80"/>
              <a:gd name="T30" fmla="*/ 30 w 53"/>
              <a:gd name="T31" fmla="*/ 80 h 80"/>
              <a:gd name="T32" fmla="*/ 33 w 53"/>
              <a:gd name="T33" fmla="*/ 80 h 80"/>
              <a:gd name="T34" fmla="*/ 36 w 53"/>
              <a:gd name="T35" fmla="*/ 79 h 80"/>
              <a:gd name="T36" fmla="*/ 38 w 53"/>
              <a:gd name="T37" fmla="*/ 78 h 80"/>
              <a:gd name="T38" fmla="*/ 42 w 53"/>
              <a:gd name="T39" fmla="*/ 76 h 80"/>
              <a:gd name="T40" fmla="*/ 45 w 53"/>
              <a:gd name="T41" fmla="*/ 73 h 80"/>
              <a:gd name="T42" fmla="*/ 48 w 53"/>
              <a:gd name="T43" fmla="*/ 70 h 80"/>
              <a:gd name="T44" fmla="*/ 51 w 53"/>
              <a:gd name="T45" fmla="*/ 67 h 80"/>
              <a:gd name="T46" fmla="*/ 53 w 53"/>
              <a:gd name="T47" fmla="*/ 64 h 80"/>
              <a:gd name="T48" fmla="*/ 53 w 53"/>
              <a:gd name="T49" fmla="*/ 62 h 80"/>
              <a:gd name="T50" fmla="*/ 52 w 53"/>
              <a:gd name="T51" fmla="*/ 54 h 80"/>
              <a:gd name="T52" fmla="*/ 49 w 53"/>
              <a:gd name="T53" fmla="*/ 47 h 80"/>
              <a:gd name="T54" fmla="*/ 46 w 53"/>
              <a:gd name="T55" fmla="*/ 42 h 80"/>
              <a:gd name="T56" fmla="*/ 43 w 53"/>
              <a:gd name="T57" fmla="*/ 37 h 80"/>
              <a:gd name="T58" fmla="*/ 40 w 53"/>
              <a:gd name="T59" fmla="*/ 32 h 80"/>
              <a:gd name="T60" fmla="*/ 36 w 53"/>
              <a:gd name="T61" fmla="*/ 27 h 80"/>
              <a:gd name="T62" fmla="*/ 34 w 53"/>
              <a:gd name="T63" fmla="*/ 20 h 80"/>
              <a:gd name="T64" fmla="*/ 33 w 53"/>
              <a:gd name="T65" fmla="*/ 12 h 80"/>
              <a:gd name="T66" fmla="*/ 33 w 53"/>
              <a:gd name="T67" fmla="*/ 10 h 80"/>
              <a:gd name="T68" fmla="*/ 31 w 53"/>
              <a:gd name="T69" fmla="*/ 8 h 80"/>
              <a:gd name="T70" fmla="*/ 29 w 53"/>
              <a:gd name="T71" fmla="*/ 6 h 80"/>
              <a:gd name="T72" fmla="*/ 25 w 53"/>
              <a:gd name="T73" fmla="*/ 4 h 80"/>
              <a:gd name="T74" fmla="*/ 19 w 53"/>
              <a:gd name="T75" fmla="*/ 1 h 80"/>
              <a:gd name="T76" fmla="*/ 13 w 53"/>
              <a:gd name="T7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53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>
              <a:gd name="T0" fmla="*/ 0 w 41"/>
              <a:gd name="T1" fmla="*/ 43 h 43"/>
              <a:gd name="T2" fmla="*/ 27 w 41"/>
              <a:gd name="T3" fmla="*/ 43 h 43"/>
              <a:gd name="T4" fmla="*/ 41 w 41"/>
              <a:gd name="T5" fmla="*/ 24 h 43"/>
              <a:gd name="T6" fmla="*/ 38 w 41"/>
              <a:gd name="T7" fmla="*/ 12 h 43"/>
              <a:gd name="T8" fmla="*/ 34 w 41"/>
              <a:gd name="T9" fmla="*/ 0 h 43"/>
              <a:gd name="T10" fmla="*/ 27 w 41"/>
              <a:gd name="T11" fmla="*/ 4 h 43"/>
              <a:gd name="T12" fmla="*/ 20 w 41"/>
              <a:gd name="T13" fmla="*/ 9 h 43"/>
              <a:gd name="T14" fmla="*/ 15 w 41"/>
              <a:gd name="T15" fmla="*/ 14 h 43"/>
              <a:gd name="T16" fmla="*/ 10 w 41"/>
              <a:gd name="T17" fmla="*/ 19 h 43"/>
              <a:gd name="T18" fmla="*/ 6 w 41"/>
              <a:gd name="T19" fmla="*/ 24 h 43"/>
              <a:gd name="T20" fmla="*/ 3 w 41"/>
              <a:gd name="T21" fmla="*/ 30 h 43"/>
              <a:gd name="T22" fmla="*/ 1 w 41"/>
              <a:gd name="T23" fmla="*/ 37 h 43"/>
              <a:gd name="T24" fmla="*/ 0 w 41"/>
              <a:gd name="T2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54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>
              <a:gd name="T0" fmla="*/ 20 w 20"/>
              <a:gd name="T1" fmla="*/ 0 h 24"/>
              <a:gd name="T2" fmla="*/ 0 w 20"/>
              <a:gd name="T3" fmla="*/ 0 h 24"/>
              <a:gd name="T4" fmla="*/ 1 w 20"/>
              <a:gd name="T5" fmla="*/ 5 h 24"/>
              <a:gd name="T6" fmla="*/ 2 w 20"/>
              <a:gd name="T7" fmla="*/ 9 h 24"/>
              <a:gd name="T8" fmla="*/ 4 w 20"/>
              <a:gd name="T9" fmla="*/ 13 h 24"/>
              <a:gd name="T10" fmla="*/ 7 w 20"/>
              <a:gd name="T11" fmla="*/ 17 h 24"/>
              <a:gd name="T12" fmla="*/ 10 w 20"/>
              <a:gd name="T13" fmla="*/ 20 h 24"/>
              <a:gd name="T14" fmla="*/ 14 w 20"/>
              <a:gd name="T15" fmla="*/ 22 h 24"/>
              <a:gd name="T16" fmla="*/ 17 w 20"/>
              <a:gd name="T17" fmla="*/ 24 h 24"/>
              <a:gd name="T18" fmla="*/ 20 w 20"/>
              <a:gd name="T19" fmla="*/ 24 h 24"/>
              <a:gd name="T20" fmla="*/ 20 w 20"/>
              <a:gd name="T2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55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>
              <a:gd name="T0" fmla="*/ 0 w 39"/>
              <a:gd name="T1" fmla="*/ 12 h 43"/>
              <a:gd name="T2" fmla="*/ 2 w 39"/>
              <a:gd name="T3" fmla="*/ 17 h 43"/>
              <a:gd name="T4" fmla="*/ 6 w 39"/>
              <a:gd name="T5" fmla="*/ 22 h 43"/>
              <a:gd name="T6" fmla="*/ 12 w 39"/>
              <a:gd name="T7" fmla="*/ 27 h 43"/>
              <a:gd name="T8" fmla="*/ 16 w 39"/>
              <a:gd name="T9" fmla="*/ 32 h 43"/>
              <a:gd name="T10" fmla="*/ 23 w 39"/>
              <a:gd name="T11" fmla="*/ 37 h 43"/>
              <a:gd name="T12" fmla="*/ 28 w 39"/>
              <a:gd name="T13" fmla="*/ 40 h 43"/>
              <a:gd name="T14" fmla="*/ 34 w 39"/>
              <a:gd name="T15" fmla="*/ 43 h 43"/>
              <a:gd name="T16" fmla="*/ 39 w 39"/>
              <a:gd name="T17" fmla="*/ 43 h 43"/>
              <a:gd name="T18" fmla="*/ 38 w 39"/>
              <a:gd name="T19" fmla="*/ 32 h 43"/>
              <a:gd name="T20" fmla="*/ 36 w 39"/>
              <a:gd name="T21" fmla="*/ 19 h 43"/>
              <a:gd name="T22" fmla="*/ 34 w 39"/>
              <a:gd name="T23" fmla="*/ 8 h 43"/>
              <a:gd name="T24" fmla="*/ 32 w 39"/>
              <a:gd name="T25" fmla="*/ 0 h 43"/>
              <a:gd name="T26" fmla="*/ 19 w 39"/>
              <a:gd name="T27" fmla="*/ 3 h 43"/>
              <a:gd name="T28" fmla="*/ 6 w 39"/>
              <a:gd name="T29" fmla="*/ 6 h 43"/>
              <a:gd name="T30" fmla="*/ 0 w 39"/>
              <a:gd name="T31" fmla="*/ 12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56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>
              <a:gd name="T0" fmla="*/ 29 w 55"/>
              <a:gd name="T1" fmla="*/ 26 h 62"/>
              <a:gd name="T2" fmla="*/ 8 w 55"/>
              <a:gd name="T3" fmla="*/ 0 h 62"/>
              <a:gd name="T4" fmla="*/ 4 w 55"/>
              <a:gd name="T5" fmla="*/ 5 h 62"/>
              <a:gd name="T6" fmla="*/ 1 w 55"/>
              <a:gd name="T7" fmla="*/ 11 h 62"/>
              <a:gd name="T8" fmla="*/ 0 w 55"/>
              <a:gd name="T9" fmla="*/ 16 h 62"/>
              <a:gd name="T10" fmla="*/ 0 w 55"/>
              <a:gd name="T11" fmla="*/ 21 h 62"/>
              <a:gd name="T12" fmla="*/ 2 w 55"/>
              <a:gd name="T13" fmla="*/ 26 h 62"/>
              <a:gd name="T14" fmla="*/ 4 w 55"/>
              <a:gd name="T15" fmla="*/ 31 h 62"/>
              <a:gd name="T16" fmla="*/ 8 w 55"/>
              <a:gd name="T17" fmla="*/ 36 h 62"/>
              <a:gd name="T18" fmla="*/ 11 w 55"/>
              <a:gd name="T19" fmla="*/ 41 h 62"/>
              <a:gd name="T20" fmla="*/ 16 w 55"/>
              <a:gd name="T21" fmla="*/ 45 h 62"/>
              <a:gd name="T22" fmla="*/ 21 w 55"/>
              <a:gd name="T23" fmla="*/ 49 h 62"/>
              <a:gd name="T24" fmla="*/ 26 w 55"/>
              <a:gd name="T25" fmla="*/ 53 h 62"/>
              <a:gd name="T26" fmla="*/ 33 w 55"/>
              <a:gd name="T27" fmla="*/ 56 h 62"/>
              <a:gd name="T28" fmla="*/ 38 w 55"/>
              <a:gd name="T29" fmla="*/ 58 h 62"/>
              <a:gd name="T30" fmla="*/ 44 w 55"/>
              <a:gd name="T31" fmla="*/ 60 h 62"/>
              <a:gd name="T32" fmla="*/ 49 w 55"/>
              <a:gd name="T33" fmla="*/ 61 h 62"/>
              <a:gd name="T34" fmla="*/ 55 w 55"/>
              <a:gd name="T35" fmla="*/ 62 h 62"/>
              <a:gd name="T36" fmla="*/ 54 w 55"/>
              <a:gd name="T37" fmla="*/ 53 h 62"/>
              <a:gd name="T38" fmla="*/ 53 w 55"/>
              <a:gd name="T39" fmla="*/ 46 h 62"/>
              <a:gd name="T40" fmla="*/ 49 w 55"/>
              <a:gd name="T41" fmla="*/ 40 h 62"/>
              <a:gd name="T42" fmla="*/ 46 w 55"/>
              <a:gd name="T43" fmla="*/ 35 h 62"/>
              <a:gd name="T44" fmla="*/ 43 w 55"/>
              <a:gd name="T45" fmla="*/ 31 h 62"/>
              <a:gd name="T46" fmla="*/ 38 w 55"/>
              <a:gd name="T47" fmla="*/ 28 h 62"/>
              <a:gd name="T48" fmla="*/ 33 w 55"/>
              <a:gd name="T49" fmla="*/ 26 h 62"/>
              <a:gd name="T50" fmla="*/ 29 w 55"/>
              <a:gd name="T51" fmla="*/ 26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57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>
              <a:gd name="T0" fmla="*/ 33 w 35"/>
              <a:gd name="T1" fmla="*/ 13 h 43"/>
              <a:gd name="T2" fmla="*/ 7 w 35"/>
              <a:gd name="T3" fmla="*/ 0 h 43"/>
              <a:gd name="T4" fmla="*/ 4 w 35"/>
              <a:gd name="T5" fmla="*/ 8 h 43"/>
              <a:gd name="T6" fmla="*/ 0 w 35"/>
              <a:gd name="T7" fmla="*/ 19 h 43"/>
              <a:gd name="T8" fmla="*/ 2 w 35"/>
              <a:gd name="T9" fmla="*/ 28 h 43"/>
              <a:gd name="T10" fmla="*/ 5 w 35"/>
              <a:gd name="T11" fmla="*/ 36 h 43"/>
              <a:gd name="T12" fmla="*/ 6 w 35"/>
              <a:gd name="T13" fmla="*/ 39 h 43"/>
              <a:gd name="T14" fmla="*/ 8 w 35"/>
              <a:gd name="T15" fmla="*/ 41 h 43"/>
              <a:gd name="T16" fmla="*/ 11 w 35"/>
              <a:gd name="T17" fmla="*/ 43 h 43"/>
              <a:gd name="T18" fmla="*/ 14 w 35"/>
              <a:gd name="T19" fmla="*/ 43 h 43"/>
              <a:gd name="T20" fmla="*/ 18 w 35"/>
              <a:gd name="T21" fmla="*/ 43 h 43"/>
              <a:gd name="T22" fmla="*/ 22 w 35"/>
              <a:gd name="T23" fmla="*/ 42 h 43"/>
              <a:gd name="T24" fmla="*/ 26 w 35"/>
              <a:gd name="T25" fmla="*/ 41 h 43"/>
              <a:gd name="T26" fmla="*/ 28 w 35"/>
              <a:gd name="T27" fmla="*/ 39 h 43"/>
              <a:gd name="T28" fmla="*/ 31 w 35"/>
              <a:gd name="T29" fmla="*/ 35 h 43"/>
              <a:gd name="T30" fmla="*/ 33 w 35"/>
              <a:gd name="T31" fmla="*/ 30 h 43"/>
              <a:gd name="T32" fmla="*/ 35 w 35"/>
              <a:gd name="T33" fmla="*/ 20 h 43"/>
              <a:gd name="T34" fmla="*/ 33 w 35"/>
              <a:gd name="T35" fmla="*/ 1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58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>
              <a:gd name="T0" fmla="*/ 53 w 53"/>
              <a:gd name="T1" fmla="*/ 0 h 21"/>
              <a:gd name="T2" fmla="*/ 41 w 53"/>
              <a:gd name="T3" fmla="*/ 1 h 21"/>
              <a:gd name="T4" fmla="*/ 32 w 53"/>
              <a:gd name="T5" fmla="*/ 2 h 21"/>
              <a:gd name="T6" fmla="*/ 25 w 53"/>
              <a:gd name="T7" fmla="*/ 5 h 21"/>
              <a:gd name="T8" fmla="*/ 21 w 53"/>
              <a:gd name="T9" fmla="*/ 7 h 21"/>
              <a:gd name="T10" fmla="*/ 17 w 53"/>
              <a:gd name="T11" fmla="*/ 10 h 21"/>
              <a:gd name="T12" fmla="*/ 13 w 53"/>
              <a:gd name="T13" fmla="*/ 13 h 21"/>
              <a:gd name="T14" fmla="*/ 8 w 53"/>
              <a:gd name="T15" fmla="*/ 16 h 21"/>
              <a:gd name="T16" fmla="*/ 0 w 53"/>
              <a:gd name="T17" fmla="*/ 18 h 21"/>
              <a:gd name="T18" fmla="*/ 5 w 53"/>
              <a:gd name="T19" fmla="*/ 20 h 21"/>
              <a:gd name="T20" fmla="*/ 11 w 53"/>
              <a:gd name="T21" fmla="*/ 21 h 21"/>
              <a:gd name="T22" fmla="*/ 17 w 53"/>
              <a:gd name="T23" fmla="*/ 21 h 21"/>
              <a:gd name="T24" fmla="*/ 24 w 53"/>
              <a:gd name="T25" fmla="*/ 21 h 21"/>
              <a:gd name="T26" fmla="*/ 38 w 53"/>
              <a:gd name="T27" fmla="*/ 19 h 21"/>
              <a:gd name="T28" fmla="*/ 53 w 53"/>
              <a:gd name="T29" fmla="*/ 18 h 21"/>
              <a:gd name="T30" fmla="*/ 53 w 53"/>
              <a:gd name="T31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59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>
              <a:gd name="T0" fmla="*/ 22 w 43"/>
              <a:gd name="T1" fmla="*/ 0 h 38"/>
              <a:gd name="T2" fmla="*/ 12 w 43"/>
              <a:gd name="T3" fmla="*/ 0 h 38"/>
              <a:gd name="T4" fmla="*/ 2 w 43"/>
              <a:gd name="T5" fmla="*/ 0 h 38"/>
              <a:gd name="T6" fmla="*/ 1 w 43"/>
              <a:gd name="T7" fmla="*/ 0 h 38"/>
              <a:gd name="T8" fmla="*/ 0 w 43"/>
              <a:gd name="T9" fmla="*/ 1 h 38"/>
              <a:gd name="T10" fmla="*/ 0 w 43"/>
              <a:gd name="T11" fmla="*/ 3 h 38"/>
              <a:gd name="T12" fmla="*/ 0 w 43"/>
              <a:gd name="T13" fmla="*/ 6 h 38"/>
              <a:gd name="T14" fmla="*/ 1 w 43"/>
              <a:gd name="T15" fmla="*/ 10 h 38"/>
              <a:gd name="T16" fmla="*/ 2 w 43"/>
              <a:gd name="T17" fmla="*/ 12 h 38"/>
              <a:gd name="T18" fmla="*/ 3 w 43"/>
              <a:gd name="T19" fmla="*/ 18 h 38"/>
              <a:gd name="T20" fmla="*/ 5 w 43"/>
              <a:gd name="T21" fmla="*/ 25 h 38"/>
              <a:gd name="T22" fmla="*/ 10 w 43"/>
              <a:gd name="T23" fmla="*/ 30 h 38"/>
              <a:gd name="T24" fmla="*/ 15 w 43"/>
              <a:gd name="T25" fmla="*/ 34 h 38"/>
              <a:gd name="T26" fmla="*/ 21 w 43"/>
              <a:gd name="T27" fmla="*/ 37 h 38"/>
              <a:gd name="T28" fmla="*/ 27 w 43"/>
              <a:gd name="T29" fmla="*/ 38 h 38"/>
              <a:gd name="T30" fmla="*/ 35 w 43"/>
              <a:gd name="T31" fmla="*/ 38 h 38"/>
              <a:gd name="T32" fmla="*/ 43 w 43"/>
              <a:gd name="T33" fmla="*/ 37 h 38"/>
              <a:gd name="T34" fmla="*/ 40 w 43"/>
              <a:gd name="T35" fmla="*/ 29 h 38"/>
              <a:gd name="T36" fmla="*/ 36 w 43"/>
              <a:gd name="T37" fmla="*/ 23 h 38"/>
              <a:gd name="T38" fmla="*/ 33 w 43"/>
              <a:gd name="T39" fmla="*/ 17 h 38"/>
              <a:gd name="T40" fmla="*/ 30 w 43"/>
              <a:gd name="T41" fmla="*/ 13 h 38"/>
              <a:gd name="T42" fmla="*/ 27 w 43"/>
              <a:gd name="T43" fmla="*/ 10 h 38"/>
              <a:gd name="T44" fmla="*/ 24 w 43"/>
              <a:gd name="T45" fmla="*/ 7 h 38"/>
              <a:gd name="T46" fmla="*/ 23 w 43"/>
              <a:gd name="T47" fmla="*/ 4 h 38"/>
              <a:gd name="T48" fmla="*/ 22 w 43"/>
              <a:gd name="T4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60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1 w 20"/>
              <a:gd name="T3" fmla="*/ 2 h 5"/>
              <a:gd name="T4" fmla="*/ 2 w 20"/>
              <a:gd name="T5" fmla="*/ 3 h 5"/>
              <a:gd name="T6" fmla="*/ 4 w 20"/>
              <a:gd name="T7" fmla="*/ 4 h 5"/>
              <a:gd name="T8" fmla="*/ 7 w 20"/>
              <a:gd name="T9" fmla="*/ 5 h 5"/>
              <a:gd name="T10" fmla="*/ 11 w 20"/>
              <a:gd name="T11" fmla="*/ 4 h 5"/>
              <a:gd name="T12" fmla="*/ 14 w 20"/>
              <a:gd name="T13" fmla="*/ 3 h 5"/>
              <a:gd name="T14" fmla="*/ 17 w 20"/>
              <a:gd name="T15" fmla="*/ 2 h 5"/>
              <a:gd name="T16" fmla="*/ 20 w 20"/>
              <a:gd name="T17" fmla="*/ 0 h 5"/>
              <a:gd name="T18" fmla="*/ 0 w 20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61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>
              <a:gd name="T0" fmla="*/ 40 w 73"/>
              <a:gd name="T1" fmla="*/ 0 h 22"/>
              <a:gd name="T2" fmla="*/ 32 w 73"/>
              <a:gd name="T3" fmla="*/ 1 h 22"/>
              <a:gd name="T4" fmla="*/ 26 w 73"/>
              <a:gd name="T5" fmla="*/ 2 h 22"/>
              <a:gd name="T6" fmla="*/ 20 w 73"/>
              <a:gd name="T7" fmla="*/ 5 h 22"/>
              <a:gd name="T8" fmla="*/ 15 w 73"/>
              <a:gd name="T9" fmla="*/ 8 h 22"/>
              <a:gd name="T10" fmla="*/ 6 w 73"/>
              <a:gd name="T11" fmla="*/ 14 h 22"/>
              <a:gd name="T12" fmla="*/ 0 w 73"/>
              <a:gd name="T13" fmla="*/ 19 h 22"/>
              <a:gd name="T14" fmla="*/ 20 w 73"/>
              <a:gd name="T15" fmla="*/ 20 h 22"/>
              <a:gd name="T16" fmla="*/ 39 w 73"/>
              <a:gd name="T17" fmla="*/ 22 h 22"/>
              <a:gd name="T18" fmla="*/ 49 w 73"/>
              <a:gd name="T19" fmla="*/ 22 h 22"/>
              <a:gd name="T20" fmla="*/ 57 w 73"/>
              <a:gd name="T21" fmla="*/ 22 h 22"/>
              <a:gd name="T22" fmla="*/ 65 w 73"/>
              <a:gd name="T23" fmla="*/ 21 h 22"/>
              <a:gd name="T24" fmla="*/ 73 w 73"/>
              <a:gd name="T25" fmla="*/ 19 h 22"/>
              <a:gd name="T26" fmla="*/ 64 w 73"/>
              <a:gd name="T27" fmla="*/ 14 h 22"/>
              <a:gd name="T28" fmla="*/ 56 w 73"/>
              <a:gd name="T29" fmla="*/ 8 h 22"/>
              <a:gd name="T30" fmla="*/ 53 w 73"/>
              <a:gd name="T31" fmla="*/ 5 h 22"/>
              <a:gd name="T32" fmla="*/ 49 w 73"/>
              <a:gd name="T33" fmla="*/ 2 h 22"/>
              <a:gd name="T34" fmla="*/ 44 w 73"/>
              <a:gd name="T35" fmla="*/ 1 h 22"/>
              <a:gd name="T36" fmla="*/ 40 w 73"/>
              <a:gd name="T37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62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>
              <a:gd name="T0" fmla="*/ 235 w 281"/>
              <a:gd name="T1" fmla="*/ 168 h 193"/>
              <a:gd name="T2" fmla="*/ 188 w 281"/>
              <a:gd name="T3" fmla="*/ 171 h 193"/>
              <a:gd name="T4" fmla="*/ 168 w 281"/>
              <a:gd name="T5" fmla="*/ 168 h 193"/>
              <a:gd name="T6" fmla="*/ 155 w 281"/>
              <a:gd name="T7" fmla="*/ 164 h 193"/>
              <a:gd name="T8" fmla="*/ 130 w 281"/>
              <a:gd name="T9" fmla="*/ 135 h 193"/>
              <a:gd name="T10" fmla="*/ 104 w 281"/>
              <a:gd name="T11" fmla="*/ 94 h 193"/>
              <a:gd name="T12" fmla="*/ 94 w 281"/>
              <a:gd name="T13" fmla="*/ 74 h 193"/>
              <a:gd name="T14" fmla="*/ 87 w 281"/>
              <a:gd name="T15" fmla="*/ 51 h 193"/>
              <a:gd name="T16" fmla="*/ 83 w 281"/>
              <a:gd name="T17" fmla="*/ 27 h 193"/>
              <a:gd name="T18" fmla="*/ 43 w 281"/>
              <a:gd name="T19" fmla="*/ 0 h 193"/>
              <a:gd name="T20" fmla="*/ 28 w 281"/>
              <a:gd name="T21" fmla="*/ 52 h 193"/>
              <a:gd name="T22" fmla="*/ 18 w 281"/>
              <a:gd name="T23" fmla="*/ 61 h 193"/>
              <a:gd name="T24" fmla="*/ 6 w 281"/>
              <a:gd name="T25" fmla="*/ 69 h 193"/>
              <a:gd name="T26" fmla="*/ 0 w 281"/>
              <a:gd name="T27" fmla="*/ 73 h 193"/>
              <a:gd name="T28" fmla="*/ 1 w 281"/>
              <a:gd name="T29" fmla="*/ 75 h 193"/>
              <a:gd name="T30" fmla="*/ 9 w 281"/>
              <a:gd name="T31" fmla="*/ 81 h 193"/>
              <a:gd name="T32" fmla="*/ 37 w 281"/>
              <a:gd name="T33" fmla="*/ 111 h 193"/>
              <a:gd name="T34" fmla="*/ 45 w 281"/>
              <a:gd name="T35" fmla="*/ 122 h 193"/>
              <a:gd name="T36" fmla="*/ 53 w 281"/>
              <a:gd name="T37" fmla="*/ 129 h 193"/>
              <a:gd name="T38" fmla="*/ 62 w 281"/>
              <a:gd name="T39" fmla="*/ 134 h 193"/>
              <a:gd name="T40" fmla="*/ 71 w 281"/>
              <a:gd name="T41" fmla="*/ 136 h 193"/>
              <a:gd name="T42" fmla="*/ 76 w 281"/>
              <a:gd name="T43" fmla="*/ 141 h 193"/>
              <a:gd name="T44" fmla="*/ 79 w 281"/>
              <a:gd name="T45" fmla="*/ 148 h 193"/>
              <a:gd name="T46" fmla="*/ 86 w 281"/>
              <a:gd name="T47" fmla="*/ 153 h 193"/>
              <a:gd name="T48" fmla="*/ 99 w 281"/>
              <a:gd name="T49" fmla="*/ 154 h 193"/>
              <a:gd name="T50" fmla="*/ 106 w 281"/>
              <a:gd name="T51" fmla="*/ 157 h 193"/>
              <a:gd name="T52" fmla="*/ 109 w 281"/>
              <a:gd name="T53" fmla="*/ 163 h 193"/>
              <a:gd name="T54" fmla="*/ 109 w 281"/>
              <a:gd name="T55" fmla="*/ 179 h 193"/>
              <a:gd name="T56" fmla="*/ 111 w 281"/>
              <a:gd name="T57" fmla="*/ 189 h 193"/>
              <a:gd name="T58" fmla="*/ 115 w 281"/>
              <a:gd name="T59" fmla="*/ 193 h 193"/>
              <a:gd name="T60" fmla="*/ 129 w 281"/>
              <a:gd name="T61" fmla="*/ 193 h 193"/>
              <a:gd name="T62" fmla="*/ 164 w 281"/>
              <a:gd name="T63" fmla="*/ 191 h 193"/>
              <a:gd name="T64" fmla="*/ 180 w 281"/>
              <a:gd name="T65" fmla="*/ 189 h 193"/>
              <a:gd name="T66" fmla="*/ 192 w 281"/>
              <a:gd name="T67" fmla="*/ 186 h 193"/>
              <a:gd name="T68" fmla="*/ 212 w 281"/>
              <a:gd name="T69" fmla="*/ 188 h 193"/>
              <a:gd name="T70" fmla="*/ 281 w 281"/>
              <a:gd name="T71" fmla="*/ 167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63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>
              <a:gd name="T0" fmla="*/ 0 w 120"/>
              <a:gd name="T1" fmla="*/ 18 h 56"/>
              <a:gd name="T2" fmla="*/ 4 w 120"/>
              <a:gd name="T3" fmla="*/ 26 h 56"/>
              <a:gd name="T4" fmla="*/ 10 w 120"/>
              <a:gd name="T5" fmla="*/ 33 h 56"/>
              <a:gd name="T6" fmla="*/ 15 w 120"/>
              <a:gd name="T7" fmla="*/ 37 h 56"/>
              <a:gd name="T8" fmla="*/ 21 w 120"/>
              <a:gd name="T9" fmla="*/ 41 h 56"/>
              <a:gd name="T10" fmla="*/ 27 w 120"/>
              <a:gd name="T11" fmla="*/ 44 h 56"/>
              <a:gd name="T12" fmla="*/ 35 w 120"/>
              <a:gd name="T13" fmla="*/ 46 h 56"/>
              <a:gd name="T14" fmla="*/ 43 w 120"/>
              <a:gd name="T15" fmla="*/ 48 h 56"/>
              <a:gd name="T16" fmla="*/ 51 w 120"/>
              <a:gd name="T17" fmla="*/ 49 h 56"/>
              <a:gd name="T18" fmla="*/ 67 w 120"/>
              <a:gd name="T19" fmla="*/ 50 h 56"/>
              <a:gd name="T20" fmla="*/ 85 w 120"/>
              <a:gd name="T21" fmla="*/ 51 h 56"/>
              <a:gd name="T22" fmla="*/ 102 w 120"/>
              <a:gd name="T23" fmla="*/ 52 h 56"/>
              <a:gd name="T24" fmla="*/ 120 w 120"/>
              <a:gd name="T25" fmla="*/ 56 h 56"/>
              <a:gd name="T26" fmla="*/ 120 w 120"/>
              <a:gd name="T27" fmla="*/ 37 h 56"/>
              <a:gd name="T28" fmla="*/ 111 w 120"/>
              <a:gd name="T29" fmla="*/ 34 h 56"/>
              <a:gd name="T30" fmla="*/ 102 w 120"/>
              <a:gd name="T31" fmla="*/ 30 h 56"/>
              <a:gd name="T32" fmla="*/ 94 w 120"/>
              <a:gd name="T33" fmla="*/ 24 h 56"/>
              <a:gd name="T34" fmla="*/ 88 w 120"/>
              <a:gd name="T35" fmla="*/ 18 h 56"/>
              <a:gd name="T36" fmla="*/ 81 w 120"/>
              <a:gd name="T37" fmla="*/ 13 h 56"/>
              <a:gd name="T38" fmla="*/ 75 w 120"/>
              <a:gd name="T39" fmla="*/ 7 h 56"/>
              <a:gd name="T40" fmla="*/ 67 w 120"/>
              <a:gd name="T41" fmla="*/ 3 h 56"/>
              <a:gd name="T42" fmla="*/ 60 w 120"/>
              <a:gd name="T43" fmla="*/ 0 h 56"/>
              <a:gd name="T44" fmla="*/ 55 w 120"/>
              <a:gd name="T45" fmla="*/ 1 h 56"/>
              <a:gd name="T46" fmla="*/ 48 w 120"/>
              <a:gd name="T47" fmla="*/ 3 h 56"/>
              <a:gd name="T48" fmla="*/ 41 w 120"/>
              <a:gd name="T49" fmla="*/ 6 h 56"/>
              <a:gd name="T50" fmla="*/ 33 w 120"/>
              <a:gd name="T51" fmla="*/ 9 h 56"/>
              <a:gd name="T52" fmla="*/ 24 w 120"/>
              <a:gd name="T53" fmla="*/ 13 h 56"/>
              <a:gd name="T54" fmla="*/ 16 w 120"/>
              <a:gd name="T55" fmla="*/ 15 h 56"/>
              <a:gd name="T56" fmla="*/ 8 w 120"/>
              <a:gd name="T57" fmla="*/ 18 h 56"/>
              <a:gd name="T58" fmla="*/ 0 w 120"/>
              <a:gd name="T59" fmla="*/ 1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64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>
              <a:gd name="T0" fmla="*/ 127 w 574"/>
              <a:gd name="T1" fmla="*/ 1 h 204"/>
              <a:gd name="T2" fmla="*/ 95 w 574"/>
              <a:gd name="T3" fmla="*/ 6 h 204"/>
              <a:gd name="T4" fmla="*/ 66 w 574"/>
              <a:gd name="T5" fmla="*/ 16 h 204"/>
              <a:gd name="T6" fmla="*/ 43 w 574"/>
              <a:gd name="T7" fmla="*/ 26 h 204"/>
              <a:gd name="T8" fmla="*/ 30 w 574"/>
              <a:gd name="T9" fmla="*/ 35 h 204"/>
              <a:gd name="T10" fmla="*/ 16 w 574"/>
              <a:gd name="T11" fmla="*/ 51 h 204"/>
              <a:gd name="T12" fmla="*/ 4 w 574"/>
              <a:gd name="T13" fmla="*/ 71 h 204"/>
              <a:gd name="T14" fmla="*/ 0 w 574"/>
              <a:gd name="T15" fmla="*/ 82 h 204"/>
              <a:gd name="T16" fmla="*/ 1 w 574"/>
              <a:gd name="T17" fmla="*/ 86 h 204"/>
              <a:gd name="T18" fmla="*/ 13 w 574"/>
              <a:gd name="T19" fmla="*/ 86 h 204"/>
              <a:gd name="T20" fmla="*/ 29 w 574"/>
              <a:gd name="T21" fmla="*/ 83 h 204"/>
              <a:gd name="T22" fmla="*/ 52 w 574"/>
              <a:gd name="T23" fmla="*/ 75 h 204"/>
              <a:gd name="T24" fmla="*/ 80 w 574"/>
              <a:gd name="T25" fmla="*/ 58 h 204"/>
              <a:gd name="T26" fmla="*/ 102 w 574"/>
              <a:gd name="T27" fmla="*/ 46 h 204"/>
              <a:gd name="T28" fmla="*/ 119 w 574"/>
              <a:gd name="T29" fmla="*/ 40 h 204"/>
              <a:gd name="T30" fmla="*/ 175 w 574"/>
              <a:gd name="T31" fmla="*/ 37 h 204"/>
              <a:gd name="T32" fmla="*/ 176 w 574"/>
              <a:gd name="T33" fmla="*/ 48 h 204"/>
              <a:gd name="T34" fmla="*/ 180 w 574"/>
              <a:gd name="T35" fmla="*/ 55 h 204"/>
              <a:gd name="T36" fmla="*/ 184 w 574"/>
              <a:gd name="T37" fmla="*/ 59 h 204"/>
              <a:gd name="T38" fmla="*/ 190 w 574"/>
              <a:gd name="T39" fmla="*/ 61 h 204"/>
              <a:gd name="T40" fmla="*/ 229 w 574"/>
              <a:gd name="T41" fmla="*/ 61 h 204"/>
              <a:gd name="T42" fmla="*/ 269 w 574"/>
              <a:gd name="T43" fmla="*/ 78 h 204"/>
              <a:gd name="T44" fmla="*/ 302 w 574"/>
              <a:gd name="T45" fmla="*/ 95 h 204"/>
              <a:gd name="T46" fmla="*/ 336 w 574"/>
              <a:gd name="T47" fmla="*/ 111 h 204"/>
              <a:gd name="T48" fmla="*/ 375 w 574"/>
              <a:gd name="T49" fmla="*/ 123 h 204"/>
              <a:gd name="T50" fmla="*/ 376 w 574"/>
              <a:gd name="T51" fmla="*/ 134 h 204"/>
              <a:gd name="T52" fmla="*/ 382 w 574"/>
              <a:gd name="T53" fmla="*/ 142 h 204"/>
              <a:gd name="T54" fmla="*/ 396 w 574"/>
              <a:gd name="T55" fmla="*/ 152 h 204"/>
              <a:gd name="T56" fmla="*/ 428 w 574"/>
              <a:gd name="T57" fmla="*/ 166 h 204"/>
              <a:gd name="T58" fmla="*/ 402 w 574"/>
              <a:gd name="T59" fmla="*/ 191 h 204"/>
              <a:gd name="T60" fmla="*/ 407 w 574"/>
              <a:gd name="T61" fmla="*/ 197 h 204"/>
              <a:gd name="T62" fmla="*/ 414 w 574"/>
              <a:gd name="T63" fmla="*/ 201 h 204"/>
              <a:gd name="T64" fmla="*/ 429 w 574"/>
              <a:gd name="T65" fmla="*/ 204 h 204"/>
              <a:gd name="T66" fmla="*/ 461 w 574"/>
              <a:gd name="T67" fmla="*/ 204 h 204"/>
              <a:gd name="T68" fmla="*/ 555 w 574"/>
              <a:gd name="T69" fmla="*/ 189 h 204"/>
              <a:gd name="T70" fmla="*/ 559 w 574"/>
              <a:gd name="T71" fmla="*/ 183 h 204"/>
              <a:gd name="T72" fmla="*/ 565 w 574"/>
              <a:gd name="T73" fmla="*/ 177 h 204"/>
              <a:gd name="T74" fmla="*/ 572 w 574"/>
              <a:gd name="T75" fmla="*/ 173 h 204"/>
              <a:gd name="T76" fmla="*/ 574 w 574"/>
              <a:gd name="T77" fmla="*/ 161 h 204"/>
              <a:gd name="T78" fmla="*/ 561 w 574"/>
              <a:gd name="T79" fmla="*/ 153 h 204"/>
              <a:gd name="T80" fmla="*/ 532 w 574"/>
              <a:gd name="T81" fmla="*/ 148 h 204"/>
              <a:gd name="T82" fmla="*/ 504 w 574"/>
              <a:gd name="T83" fmla="*/ 138 h 204"/>
              <a:gd name="T84" fmla="*/ 475 w 574"/>
              <a:gd name="T85" fmla="*/ 124 h 204"/>
              <a:gd name="T86" fmla="*/ 433 w 574"/>
              <a:gd name="T87" fmla="*/ 100 h 204"/>
              <a:gd name="T88" fmla="*/ 383 w 574"/>
              <a:gd name="T89" fmla="*/ 68 h 204"/>
              <a:gd name="T90" fmla="*/ 358 w 574"/>
              <a:gd name="T91" fmla="*/ 54 h 204"/>
              <a:gd name="T92" fmla="*/ 348 w 574"/>
              <a:gd name="T93" fmla="*/ 52 h 204"/>
              <a:gd name="T94" fmla="*/ 330 w 574"/>
              <a:gd name="T95" fmla="*/ 52 h 204"/>
              <a:gd name="T96" fmla="*/ 312 w 574"/>
              <a:gd name="T97" fmla="*/ 51 h 204"/>
              <a:gd name="T98" fmla="*/ 302 w 574"/>
              <a:gd name="T99" fmla="*/ 49 h 204"/>
              <a:gd name="T100" fmla="*/ 294 w 574"/>
              <a:gd name="T101" fmla="*/ 43 h 204"/>
              <a:gd name="T102" fmla="*/ 290 w 574"/>
              <a:gd name="T103" fmla="*/ 32 h 204"/>
              <a:gd name="T104" fmla="*/ 142 w 574"/>
              <a:gd name="T10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65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>
              <a:gd name="T0" fmla="*/ 41 w 207"/>
              <a:gd name="T1" fmla="*/ 129 h 129"/>
              <a:gd name="T2" fmla="*/ 50 w 207"/>
              <a:gd name="T3" fmla="*/ 121 h 129"/>
              <a:gd name="T4" fmla="*/ 60 w 207"/>
              <a:gd name="T5" fmla="*/ 115 h 129"/>
              <a:gd name="T6" fmla="*/ 70 w 207"/>
              <a:gd name="T7" fmla="*/ 110 h 129"/>
              <a:gd name="T8" fmla="*/ 81 w 207"/>
              <a:gd name="T9" fmla="*/ 105 h 129"/>
              <a:gd name="T10" fmla="*/ 105 w 207"/>
              <a:gd name="T11" fmla="*/ 99 h 129"/>
              <a:gd name="T12" fmla="*/ 129 w 207"/>
              <a:gd name="T13" fmla="*/ 92 h 129"/>
              <a:gd name="T14" fmla="*/ 152 w 207"/>
              <a:gd name="T15" fmla="*/ 87 h 129"/>
              <a:gd name="T16" fmla="*/ 173 w 207"/>
              <a:gd name="T17" fmla="*/ 81 h 129"/>
              <a:gd name="T18" fmla="*/ 182 w 207"/>
              <a:gd name="T19" fmla="*/ 77 h 129"/>
              <a:gd name="T20" fmla="*/ 191 w 207"/>
              <a:gd name="T21" fmla="*/ 73 h 129"/>
              <a:gd name="T22" fmla="*/ 200 w 207"/>
              <a:gd name="T23" fmla="*/ 67 h 129"/>
              <a:gd name="T24" fmla="*/ 207 w 207"/>
              <a:gd name="T25" fmla="*/ 61 h 129"/>
              <a:gd name="T26" fmla="*/ 198 w 207"/>
              <a:gd name="T27" fmla="*/ 54 h 129"/>
              <a:gd name="T28" fmla="*/ 188 w 207"/>
              <a:gd name="T29" fmla="*/ 47 h 129"/>
              <a:gd name="T30" fmla="*/ 179 w 207"/>
              <a:gd name="T31" fmla="*/ 42 h 129"/>
              <a:gd name="T32" fmla="*/ 169 w 207"/>
              <a:gd name="T33" fmla="*/ 36 h 129"/>
              <a:gd name="T34" fmla="*/ 150 w 207"/>
              <a:gd name="T35" fmla="*/ 29 h 129"/>
              <a:gd name="T36" fmla="*/ 129 w 207"/>
              <a:gd name="T37" fmla="*/ 23 h 129"/>
              <a:gd name="T38" fmla="*/ 107 w 207"/>
              <a:gd name="T39" fmla="*/ 18 h 129"/>
              <a:gd name="T40" fmla="*/ 85 w 207"/>
              <a:gd name="T41" fmla="*/ 13 h 129"/>
              <a:gd name="T42" fmla="*/ 63 w 207"/>
              <a:gd name="T43" fmla="*/ 7 h 129"/>
              <a:gd name="T44" fmla="*/ 41 w 207"/>
              <a:gd name="T45" fmla="*/ 0 h 129"/>
              <a:gd name="T46" fmla="*/ 0 w 207"/>
              <a:gd name="T47" fmla="*/ 0 h 129"/>
              <a:gd name="T48" fmla="*/ 1 w 207"/>
              <a:gd name="T49" fmla="*/ 6 h 129"/>
              <a:gd name="T50" fmla="*/ 2 w 207"/>
              <a:gd name="T51" fmla="*/ 13 h 129"/>
              <a:gd name="T52" fmla="*/ 4 w 207"/>
              <a:gd name="T53" fmla="*/ 19 h 129"/>
              <a:gd name="T54" fmla="*/ 6 w 207"/>
              <a:gd name="T55" fmla="*/ 25 h 129"/>
              <a:gd name="T56" fmla="*/ 10 w 207"/>
              <a:gd name="T57" fmla="*/ 35 h 129"/>
              <a:gd name="T58" fmla="*/ 13 w 207"/>
              <a:gd name="T59" fmla="*/ 46 h 129"/>
              <a:gd name="T60" fmla="*/ 17 w 207"/>
              <a:gd name="T61" fmla="*/ 54 h 129"/>
              <a:gd name="T62" fmla="*/ 18 w 207"/>
              <a:gd name="T63" fmla="*/ 62 h 129"/>
              <a:gd name="T64" fmla="*/ 17 w 207"/>
              <a:gd name="T65" fmla="*/ 65 h 129"/>
              <a:gd name="T66" fmla="*/ 14 w 207"/>
              <a:gd name="T67" fmla="*/ 68 h 129"/>
              <a:gd name="T68" fmla="*/ 11 w 207"/>
              <a:gd name="T69" fmla="*/ 71 h 129"/>
              <a:gd name="T70" fmla="*/ 7 w 207"/>
              <a:gd name="T71" fmla="*/ 73 h 129"/>
              <a:gd name="T72" fmla="*/ 0 w 207"/>
              <a:gd name="T73" fmla="*/ 104 h 129"/>
              <a:gd name="T74" fmla="*/ 4 w 207"/>
              <a:gd name="T75" fmla="*/ 106 h 129"/>
              <a:gd name="T76" fmla="*/ 13 w 207"/>
              <a:gd name="T77" fmla="*/ 110 h 129"/>
              <a:gd name="T78" fmla="*/ 19 w 207"/>
              <a:gd name="T79" fmla="*/ 113 h 129"/>
              <a:gd name="T80" fmla="*/ 25 w 207"/>
              <a:gd name="T81" fmla="*/ 117 h 129"/>
              <a:gd name="T82" fmla="*/ 33 w 207"/>
              <a:gd name="T83" fmla="*/ 122 h 129"/>
              <a:gd name="T84" fmla="*/ 41 w 207"/>
              <a:gd name="T85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66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>
              <a:gd name="T0" fmla="*/ 72 w 72"/>
              <a:gd name="T1" fmla="*/ 0 h 154"/>
              <a:gd name="T2" fmla="*/ 69 w 72"/>
              <a:gd name="T3" fmla="*/ 4 h 154"/>
              <a:gd name="T4" fmla="*/ 67 w 72"/>
              <a:gd name="T5" fmla="*/ 9 h 154"/>
              <a:gd name="T6" fmla="*/ 66 w 72"/>
              <a:gd name="T7" fmla="*/ 13 h 154"/>
              <a:gd name="T8" fmla="*/ 66 w 72"/>
              <a:gd name="T9" fmla="*/ 18 h 154"/>
              <a:gd name="T10" fmla="*/ 66 w 72"/>
              <a:gd name="T11" fmla="*/ 27 h 154"/>
              <a:gd name="T12" fmla="*/ 66 w 72"/>
              <a:gd name="T13" fmla="*/ 37 h 154"/>
              <a:gd name="T14" fmla="*/ 69 w 72"/>
              <a:gd name="T15" fmla="*/ 43 h 154"/>
              <a:gd name="T16" fmla="*/ 71 w 72"/>
              <a:gd name="T17" fmla="*/ 50 h 154"/>
              <a:gd name="T18" fmla="*/ 71 w 72"/>
              <a:gd name="T19" fmla="*/ 57 h 154"/>
              <a:gd name="T20" fmla="*/ 71 w 72"/>
              <a:gd name="T21" fmla="*/ 65 h 154"/>
              <a:gd name="T22" fmla="*/ 69 w 72"/>
              <a:gd name="T23" fmla="*/ 73 h 154"/>
              <a:gd name="T24" fmla="*/ 67 w 72"/>
              <a:gd name="T25" fmla="*/ 82 h 154"/>
              <a:gd name="T26" fmla="*/ 65 w 72"/>
              <a:gd name="T27" fmla="*/ 91 h 154"/>
              <a:gd name="T28" fmla="*/ 61 w 72"/>
              <a:gd name="T29" fmla="*/ 100 h 154"/>
              <a:gd name="T30" fmla="*/ 53 w 72"/>
              <a:gd name="T31" fmla="*/ 116 h 154"/>
              <a:gd name="T32" fmla="*/ 44 w 72"/>
              <a:gd name="T33" fmla="*/ 131 h 154"/>
              <a:gd name="T34" fmla="*/ 34 w 72"/>
              <a:gd name="T35" fmla="*/ 144 h 154"/>
              <a:gd name="T36" fmla="*/ 26 w 72"/>
              <a:gd name="T37" fmla="*/ 154 h 154"/>
              <a:gd name="T38" fmla="*/ 26 w 72"/>
              <a:gd name="T39" fmla="*/ 141 h 154"/>
              <a:gd name="T40" fmla="*/ 15 w 72"/>
              <a:gd name="T41" fmla="*/ 144 h 154"/>
              <a:gd name="T42" fmla="*/ 0 w 72"/>
              <a:gd name="T43" fmla="*/ 148 h 154"/>
              <a:gd name="T44" fmla="*/ 3 w 72"/>
              <a:gd name="T45" fmla="*/ 129 h 154"/>
              <a:gd name="T46" fmla="*/ 8 w 72"/>
              <a:gd name="T47" fmla="*/ 105 h 154"/>
              <a:gd name="T48" fmla="*/ 9 w 72"/>
              <a:gd name="T49" fmla="*/ 92 h 154"/>
              <a:gd name="T50" fmla="*/ 12 w 72"/>
              <a:gd name="T51" fmla="*/ 77 h 154"/>
              <a:gd name="T52" fmla="*/ 15 w 72"/>
              <a:gd name="T53" fmla="*/ 63 h 154"/>
              <a:gd name="T54" fmla="*/ 20 w 72"/>
              <a:gd name="T55" fmla="*/ 49 h 154"/>
              <a:gd name="T56" fmla="*/ 20 w 72"/>
              <a:gd name="T57" fmla="*/ 0 h 154"/>
              <a:gd name="T58" fmla="*/ 25 w 72"/>
              <a:gd name="T59" fmla="*/ 0 h 154"/>
              <a:gd name="T60" fmla="*/ 38 w 72"/>
              <a:gd name="T61" fmla="*/ 0 h 154"/>
              <a:gd name="T62" fmla="*/ 56 w 72"/>
              <a:gd name="T63" fmla="*/ 0 h 154"/>
              <a:gd name="T64" fmla="*/ 72 w 72"/>
              <a:gd name="T65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67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>
              <a:gd name="T0" fmla="*/ 8 w 214"/>
              <a:gd name="T1" fmla="*/ 207 h 271"/>
              <a:gd name="T2" fmla="*/ 12 w 214"/>
              <a:gd name="T3" fmla="*/ 181 h 271"/>
              <a:gd name="T4" fmla="*/ 24 w 214"/>
              <a:gd name="T5" fmla="*/ 148 h 271"/>
              <a:gd name="T6" fmla="*/ 35 w 214"/>
              <a:gd name="T7" fmla="*/ 118 h 271"/>
              <a:gd name="T8" fmla="*/ 44 w 214"/>
              <a:gd name="T9" fmla="*/ 112 h 271"/>
              <a:gd name="T10" fmla="*/ 65 w 214"/>
              <a:gd name="T11" fmla="*/ 111 h 271"/>
              <a:gd name="T12" fmla="*/ 89 w 214"/>
              <a:gd name="T13" fmla="*/ 111 h 271"/>
              <a:gd name="T14" fmla="*/ 106 w 214"/>
              <a:gd name="T15" fmla="*/ 110 h 271"/>
              <a:gd name="T16" fmla="*/ 120 w 214"/>
              <a:gd name="T17" fmla="*/ 105 h 271"/>
              <a:gd name="T18" fmla="*/ 130 w 214"/>
              <a:gd name="T19" fmla="*/ 94 h 271"/>
              <a:gd name="T20" fmla="*/ 113 w 214"/>
              <a:gd name="T21" fmla="*/ 73 h 271"/>
              <a:gd name="T22" fmla="*/ 86 w 214"/>
              <a:gd name="T23" fmla="*/ 58 h 271"/>
              <a:gd name="T24" fmla="*/ 77 w 214"/>
              <a:gd name="T25" fmla="*/ 49 h 271"/>
              <a:gd name="T26" fmla="*/ 74 w 214"/>
              <a:gd name="T27" fmla="*/ 41 h 271"/>
              <a:gd name="T28" fmla="*/ 75 w 214"/>
              <a:gd name="T29" fmla="*/ 34 h 271"/>
              <a:gd name="T30" fmla="*/ 82 w 214"/>
              <a:gd name="T31" fmla="*/ 28 h 271"/>
              <a:gd name="T32" fmla="*/ 101 w 214"/>
              <a:gd name="T33" fmla="*/ 19 h 271"/>
              <a:gd name="T34" fmla="*/ 150 w 214"/>
              <a:gd name="T35" fmla="*/ 3 h 271"/>
              <a:gd name="T36" fmla="*/ 180 w 214"/>
              <a:gd name="T37" fmla="*/ 0 h 271"/>
              <a:gd name="T38" fmla="*/ 198 w 214"/>
              <a:gd name="T39" fmla="*/ 0 h 271"/>
              <a:gd name="T40" fmla="*/ 207 w 214"/>
              <a:gd name="T41" fmla="*/ 49 h 271"/>
              <a:gd name="T42" fmla="*/ 199 w 214"/>
              <a:gd name="T43" fmla="*/ 77 h 271"/>
              <a:gd name="T44" fmla="*/ 195 w 214"/>
              <a:gd name="T45" fmla="*/ 105 h 271"/>
              <a:gd name="T46" fmla="*/ 187 w 214"/>
              <a:gd name="T47" fmla="*/ 148 h 271"/>
              <a:gd name="T48" fmla="*/ 213 w 214"/>
              <a:gd name="T49" fmla="*/ 154 h 271"/>
              <a:gd name="T50" fmla="*/ 214 w 214"/>
              <a:gd name="T51" fmla="*/ 166 h 271"/>
              <a:gd name="T52" fmla="*/ 210 w 214"/>
              <a:gd name="T53" fmla="*/ 174 h 271"/>
              <a:gd name="T54" fmla="*/ 207 w 214"/>
              <a:gd name="T55" fmla="*/ 177 h 271"/>
              <a:gd name="T56" fmla="*/ 200 w 214"/>
              <a:gd name="T57" fmla="*/ 178 h 271"/>
              <a:gd name="T58" fmla="*/ 192 w 214"/>
              <a:gd name="T59" fmla="*/ 196 h 271"/>
              <a:gd name="T60" fmla="*/ 181 w 214"/>
              <a:gd name="T61" fmla="*/ 214 h 271"/>
              <a:gd name="T62" fmla="*/ 155 w 214"/>
              <a:gd name="T63" fmla="*/ 243 h 271"/>
              <a:gd name="T64" fmla="*/ 120 w 214"/>
              <a:gd name="T65" fmla="*/ 271 h 271"/>
              <a:gd name="T66" fmla="*/ 87 w 214"/>
              <a:gd name="T67" fmla="*/ 261 h 271"/>
              <a:gd name="T68" fmla="*/ 55 w 214"/>
              <a:gd name="T69" fmla="*/ 248 h 271"/>
              <a:gd name="T70" fmla="*/ 0 w 214"/>
              <a:gd name="T71" fmla="*/ 22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68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>
              <a:gd name="T0" fmla="*/ 60 w 153"/>
              <a:gd name="T1" fmla="*/ 0 h 80"/>
              <a:gd name="T2" fmla="*/ 83 w 153"/>
              <a:gd name="T3" fmla="*/ 14 h 80"/>
              <a:gd name="T4" fmla="*/ 104 w 153"/>
              <a:gd name="T5" fmla="*/ 24 h 80"/>
              <a:gd name="T6" fmla="*/ 115 w 153"/>
              <a:gd name="T7" fmla="*/ 28 h 80"/>
              <a:gd name="T8" fmla="*/ 126 w 153"/>
              <a:gd name="T9" fmla="*/ 31 h 80"/>
              <a:gd name="T10" fmla="*/ 133 w 153"/>
              <a:gd name="T11" fmla="*/ 32 h 80"/>
              <a:gd name="T12" fmla="*/ 139 w 153"/>
              <a:gd name="T13" fmla="*/ 32 h 80"/>
              <a:gd name="T14" fmla="*/ 146 w 153"/>
              <a:gd name="T15" fmla="*/ 31 h 80"/>
              <a:gd name="T16" fmla="*/ 153 w 153"/>
              <a:gd name="T17" fmla="*/ 30 h 80"/>
              <a:gd name="T18" fmla="*/ 153 w 153"/>
              <a:gd name="T19" fmla="*/ 56 h 80"/>
              <a:gd name="T20" fmla="*/ 149 w 153"/>
              <a:gd name="T21" fmla="*/ 60 h 80"/>
              <a:gd name="T22" fmla="*/ 145 w 153"/>
              <a:gd name="T23" fmla="*/ 65 h 80"/>
              <a:gd name="T24" fmla="*/ 138 w 153"/>
              <a:gd name="T25" fmla="*/ 69 h 80"/>
              <a:gd name="T26" fmla="*/ 132 w 153"/>
              <a:gd name="T27" fmla="*/ 72 h 80"/>
              <a:gd name="T28" fmla="*/ 125 w 153"/>
              <a:gd name="T29" fmla="*/ 75 h 80"/>
              <a:gd name="T30" fmla="*/ 119 w 153"/>
              <a:gd name="T31" fmla="*/ 78 h 80"/>
              <a:gd name="T32" fmla="*/ 112 w 153"/>
              <a:gd name="T33" fmla="*/ 79 h 80"/>
              <a:gd name="T34" fmla="*/ 106 w 153"/>
              <a:gd name="T35" fmla="*/ 80 h 80"/>
              <a:gd name="T36" fmla="*/ 90 w 153"/>
              <a:gd name="T37" fmla="*/ 74 h 80"/>
              <a:gd name="T38" fmla="*/ 76 w 153"/>
              <a:gd name="T39" fmla="*/ 71 h 80"/>
              <a:gd name="T40" fmla="*/ 63 w 153"/>
              <a:gd name="T41" fmla="*/ 69 h 80"/>
              <a:gd name="T42" fmla="*/ 50 w 153"/>
              <a:gd name="T43" fmla="*/ 69 h 80"/>
              <a:gd name="T44" fmla="*/ 39 w 153"/>
              <a:gd name="T45" fmla="*/ 68 h 80"/>
              <a:gd name="T46" fmla="*/ 27 w 153"/>
              <a:gd name="T47" fmla="*/ 67 h 80"/>
              <a:gd name="T48" fmla="*/ 14 w 153"/>
              <a:gd name="T49" fmla="*/ 65 h 80"/>
              <a:gd name="T50" fmla="*/ 0 w 153"/>
              <a:gd name="T51" fmla="*/ 62 h 80"/>
              <a:gd name="T52" fmla="*/ 7 w 153"/>
              <a:gd name="T53" fmla="*/ 58 h 80"/>
              <a:gd name="T54" fmla="*/ 23 w 153"/>
              <a:gd name="T55" fmla="*/ 45 h 80"/>
              <a:gd name="T56" fmla="*/ 34 w 153"/>
              <a:gd name="T57" fmla="*/ 37 h 80"/>
              <a:gd name="T58" fmla="*/ 45 w 153"/>
              <a:gd name="T59" fmla="*/ 28 h 80"/>
              <a:gd name="T60" fmla="*/ 56 w 153"/>
              <a:gd name="T61" fmla="*/ 17 h 80"/>
              <a:gd name="T62" fmla="*/ 67 w 153"/>
              <a:gd name="T63" fmla="*/ 6 h 80"/>
              <a:gd name="T64" fmla="*/ 60 w 153"/>
              <a:gd name="T65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69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>
              <a:gd name="T0" fmla="*/ 0 w 332"/>
              <a:gd name="T1" fmla="*/ 77 h 169"/>
              <a:gd name="T2" fmla="*/ 44 w 332"/>
              <a:gd name="T3" fmla="*/ 101 h 169"/>
              <a:gd name="T4" fmla="*/ 66 w 332"/>
              <a:gd name="T5" fmla="*/ 108 h 169"/>
              <a:gd name="T6" fmla="*/ 79 w 332"/>
              <a:gd name="T7" fmla="*/ 109 h 169"/>
              <a:gd name="T8" fmla="*/ 93 w 332"/>
              <a:gd name="T9" fmla="*/ 107 h 169"/>
              <a:gd name="T10" fmla="*/ 90 w 332"/>
              <a:gd name="T11" fmla="*/ 144 h 169"/>
              <a:gd name="T12" fmla="*/ 95 w 332"/>
              <a:gd name="T13" fmla="*/ 154 h 169"/>
              <a:gd name="T14" fmla="*/ 99 w 332"/>
              <a:gd name="T15" fmla="*/ 163 h 169"/>
              <a:gd name="T16" fmla="*/ 107 w 332"/>
              <a:gd name="T17" fmla="*/ 168 h 169"/>
              <a:gd name="T18" fmla="*/ 117 w 332"/>
              <a:gd name="T19" fmla="*/ 169 h 169"/>
              <a:gd name="T20" fmla="*/ 123 w 332"/>
              <a:gd name="T21" fmla="*/ 166 h 169"/>
              <a:gd name="T22" fmla="*/ 132 w 332"/>
              <a:gd name="T23" fmla="*/ 157 h 169"/>
              <a:gd name="T24" fmla="*/ 146 w 332"/>
              <a:gd name="T25" fmla="*/ 136 h 169"/>
              <a:gd name="T26" fmla="*/ 174 w 332"/>
              <a:gd name="T27" fmla="*/ 115 h 169"/>
              <a:gd name="T28" fmla="*/ 214 w 332"/>
              <a:gd name="T29" fmla="*/ 96 h 169"/>
              <a:gd name="T30" fmla="*/ 256 w 332"/>
              <a:gd name="T31" fmla="*/ 80 h 169"/>
              <a:gd name="T32" fmla="*/ 304 w 332"/>
              <a:gd name="T33" fmla="*/ 65 h 169"/>
              <a:gd name="T34" fmla="*/ 332 w 332"/>
              <a:gd name="T35" fmla="*/ 46 h 169"/>
              <a:gd name="T36" fmla="*/ 332 w 332"/>
              <a:gd name="T37" fmla="*/ 22 h 169"/>
              <a:gd name="T38" fmla="*/ 320 w 332"/>
              <a:gd name="T39" fmla="*/ 2 h 169"/>
              <a:gd name="T40" fmla="*/ 283 w 332"/>
              <a:gd name="T41" fmla="*/ 1 h 169"/>
              <a:gd name="T42" fmla="*/ 234 w 332"/>
              <a:gd name="T43" fmla="*/ 0 h 169"/>
              <a:gd name="T44" fmla="*/ 180 w 332"/>
              <a:gd name="T45" fmla="*/ 1 h 169"/>
              <a:gd name="T46" fmla="*/ 131 w 332"/>
              <a:gd name="T47" fmla="*/ 4 h 169"/>
              <a:gd name="T48" fmla="*/ 90 w 332"/>
              <a:gd name="T49" fmla="*/ 10 h 169"/>
              <a:gd name="T50" fmla="*/ 59 w 332"/>
              <a:gd name="T51" fmla="*/ 19 h 169"/>
              <a:gd name="T52" fmla="*/ 42 w 332"/>
              <a:gd name="T53" fmla="*/ 22 h 169"/>
              <a:gd name="T54" fmla="*/ 35 w 332"/>
              <a:gd name="T55" fmla="*/ 23 h 169"/>
              <a:gd name="T56" fmla="*/ 34 w 332"/>
              <a:gd name="T57" fmla="*/ 26 h 169"/>
              <a:gd name="T58" fmla="*/ 33 w 332"/>
              <a:gd name="T59" fmla="*/ 38 h 169"/>
              <a:gd name="T60" fmla="*/ 29 w 332"/>
              <a:gd name="T61" fmla="*/ 44 h 169"/>
              <a:gd name="T62" fmla="*/ 23 w 332"/>
              <a:gd name="T63" fmla="*/ 46 h 169"/>
              <a:gd name="T64" fmla="*/ 19 w 332"/>
              <a:gd name="T65" fmla="*/ 55 h 169"/>
              <a:gd name="T66" fmla="*/ 11 w 332"/>
              <a:gd name="T67" fmla="*/ 72 h 169"/>
              <a:gd name="T68" fmla="*/ 7 w 332"/>
              <a:gd name="T69" fmla="*/ 83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70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209925"/>
            <a:ext cx="125412" cy="122238"/>
          </a:xfrm>
          <a:custGeom>
            <a:avLst/>
            <a:gdLst>
              <a:gd name="T0" fmla="*/ 44 w 286"/>
              <a:gd name="T1" fmla="*/ 86 h 235"/>
              <a:gd name="T2" fmla="*/ 49 w 286"/>
              <a:gd name="T3" fmla="*/ 96 h 235"/>
              <a:gd name="T4" fmla="*/ 53 w 286"/>
              <a:gd name="T5" fmla="*/ 105 h 235"/>
              <a:gd name="T6" fmla="*/ 61 w 286"/>
              <a:gd name="T7" fmla="*/ 110 h 235"/>
              <a:gd name="T8" fmla="*/ 71 w 286"/>
              <a:gd name="T9" fmla="*/ 111 h 235"/>
              <a:gd name="T10" fmla="*/ 77 w 286"/>
              <a:gd name="T11" fmla="*/ 108 h 235"/>
              <a:gd name="T12" fmla="*/ 86 w 286"/>
              <a:gd name="T13" fmla="*/ 99 h 235"/>
              <a:gd name="T14" fmla="*/ 100 w 286"/>
              <a:gd name="T15" fmla="*/ 78 h 235"/>
              <a:gd name="T16" fmla="*/ 128 w 286"/>
              <a:gd name="T17" fmla="*/ 57 h 235"/>
              <a:gd name="T18" fmla="*/ 168 w 286"/>
              <a:gd name="T19" fmla="*/ 38 h 235"/>
              <a:gd name="T20" fmla="*/ 210 w 286"/>
              <a:gd name="T21" fmla="*/ 22 h 235"/>
              <a:gd name="T22" fmla="*/ 258 w 286"/>
              <a:gd name="T23" fmla="*/ 7 h 235"/>
              <a:gd name="T24" fmla="*/ 286 w 286"/>
              <a:gd name="T25" fmla="*/ 11 h 235"/>
              <a:gd name="T26" fmla="*/ 282 w 286"/>
              <a:gd name="T27" fmla="*/ 32 h 235"/>
              <a:gd name="T28" fmla="*/ 272 w 286"/>
              <a:gd name="T29" fmla="*/ 70 h 235"/>
              <a:gd name="T30" fmla="*/ 254 w 286"/>
              <a:gd name="T31" fmla="*/ 128 h 235"/>
              <a:gd name="T32" fmla="*/ 244 w 286"/>
              <a:gd name="T33" fmla="*/ 174 h 235"/>
              <a:gd name="T34" fmla="*/ 240 w 286"/>
              <a:gd name="T35" fmla="*/ 206 h 235"/>
              <a:gd name="T36" fmla="*/ 146 w 286"/>
              <a:gd name="T37" fmla="*/ 216 h 235"/>
              <a:gd name="T38" fmla="*/ 138 w 286"/>
              <a:gd name="T39" fmla="*/ 218 h 235"/>
              <a:gd name="T40" fmla="*/ 132 w 286"/>
              <a:gd name="T41" fmla="*/ 223 h 235"/>
              <a:gd name="T42" fmla="*/ 127 w 286"/>
              <a:gd name="T43" fmla="*/ 235 h 235"/>
              <a:gd name="T44" fmla="*/ 109 w 286"/>
              <a:gd name="T45" fmla="*/ 217 h 235"/>
              <a:gd name="T46" fmla="*/ 94 w 286"/>
              <a:gd name="T47" fmla="*/ 199 h 235"/>
              <a:gd name="T48" fmla="*/ 69 w 286"/>
              <a:gd name="T49" fmla="*/ 160 h 235"/>
              <a:gd name="T50" fmla="*/ 55 w 286"/>
              <a:gd name="T51" fmla="*/ 142 h 235"/>
              <a:gd name="T52" fmla="*/ 41 w 286"/>
              <a:gd name="T53" fmla="*/ 125 h 235"/>
              <a:gd name="T54" fmla="*/ 22 w 286"/>
              <a:gd name="T55" fmla="*/ 110 h 235"/>
              <a:gd name="T56" fmla="*/ 0 w 286"/>
              <a:gd name="T57" fmla="*/ 99 h 235"/>
              <a:gd name="T58" fmla="*/ 13 w 286"/>
              <a:gd name="T59" fmla="*/ 97 h 235"/>
              <a:gd name="T60" fmla="*/ 26 w 286"/>
              <a:gd name="T61" fmla="*/ 91 h 235"/>
              <a:gd name="T62" fmla="*/ 39 w 286"/>
              <a:gd name="T63" fmla="*/ 84 h 235"/>
              <a:gd name="T64" fmla="*/ 47 w 286"/>
              <a:gd name="T65" fmla="*/ 75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71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>
              <a:gd name="T0" fmla="*/ 188 w 205"/>
              <a:gd name="T1" fmla="*/ 185 h 191"/>
              <a:gd name="T2" fmla="*/ 175 w 205"/>
              <a:gd name="T3" fmla="*/ 185 h 191"/>
              <a:gd name="T4" fmla="*/ 158 w 205"/>
              <a:gd name="T5" fmla="*/ 185 h 191"/>
              <a:gd name="T6" fmla="*/ 144 w 205"/>
              <a:gd name="T7" fmla="*/ 180 h 191"/>
              <a:gd name="T8" fmla="*/ 136 w 205"/>
              <a:gd name="T9" fmla="*/ 173 h 191"/>
              <a:gd name="T10" fmla="*/ 129 w 205"/>
              <a:gd name="T11" fmla="*/ 163 h 191"/>
              <a:gd name="T12" fmla="*/ 120 w 205"/>
              <a:gd name="T13" fmla="*/ 147 h 191"/>
              <a:gd name="T14" fmla="*/ 110 w 205"/>
              <a:gd name="T15" fmla="*/ 131 h 191"/>
              <a:gd name="T16" fmla="*/ 99 w 205"/>
              <a:gd name="T17" fmla="*/ 121 h 191"/>
              <a:gd name="T18" fmla="*/ 93 w 205"/>
              <a:gd name="T19" fmla="*/ 126 h 191"/>
              <a:gd name="T20" fmla="*/ 90 w 205"/>
              <a:gd name="T21" fmla="*/ 135 h 191"/>
              <a:gd name="T22" fmla="*/ 84 w 205"/>
              <a:gd name="T23" fmla="*/ 130 h 191"/>
              <a:gd name="T24" fmla="*/ 72 w 205"/>
              <a:gd name="T25" fmla="*/ 113 h 191"/>
              <a:gd name="T26" fmla="*/ 56 w 205"/>
              <a:gd name="T27" fmla="*/ 87 h 191"/>
              <a:gd name="T28" fmla="*/ 41 w 205"/>
              <a:gd name="T29" fmla="*/ 67 h 191"/>
              <a:gd name="T30" fmla="*/ 31 w 205"/>
              <a:gd name="T31" fmla="*/ 58 h 191"/>
              <a:gd name="T32" fmla="*/ 26 w 205"/>
              <a:gd name="T33" fmla="*/ 60 h 191"/>
              <a:gd name="T34" fmla="*/ 29 w 205"/>
              <a:gd name="T35" fmla="*/ 69 h 191"/>
              <a:gd name="T36" fmla="*/ 34 w 205"/>
              <a:gd name="T37" fmla="*/ 78 h 191"/>
              <a:gd name="T38" fmla="*/ 41 w 205"/>
              <a:gd name="T39" fmla="*/ 84 h 191"/>
              <a:gd name="T40" fmla="*/ 46 w 205"/>
              <a:gd name="T41" fmla="*/ 105 h 191"/>
              <a:gd name="T42" fmla="*/ 13 w 205"/>
              <a:gd name="T43" fmla="*/ 98 h 191"/>
              <a:gd name="T44" fmla="*/ 4 w 205"/>
              <a:gd name="T45" fmla="*/ 84 h 191"/>
              <a:gd name="T46" fmla="*/ 0 w 205"/>
              <a:gd name="T47" fmla="*/ 60 h 191"/>
              <a:gd name="T48" fmla="*/ 0 w 205"/>
              <a:gd name="T49" fmla="*/ 38 h 191"/>
              <a:gd name="T50" fmla="*/ 3 w 205"/>
              <a:gd name="T51" fmla="*/ 28 h 191"/>
              <a:gd name="T52" fmla="*/ 8 w 205"/>
              <a:gd name="T53" fmla="*/ 22 h 191"/>
              <a:gd name="T54" fmla="*/ 14 w 205"/>
              <a:gd name="T55" fmla="*/ 13 h 191"/>
              <a:gd name="T56" fmla="*/ 20 w 205"/>
              <a:gd name="T57" fmla="*/ 4 h 191"/>
              <a:gd name="T58" fmla="*/ 28 w 205"/>
              <a:gd name="T59" fmla="*/ 0 h 191"/>
              <a:gd name="T60" fmla="*/ 126 w 205"/>
              <a:gd name="T61" fmla="*/ 6 h 191"/>
              <a:gd name="T62" fmla="*/ 127 w 205"/>
              <a:gd name="T63" fmla="*/ 21 h 191"/>
              <a:gd name="T64" fmla="*/ 130 w 205"/>
              <a:gd name="T65" fmla="*/ 37 h 191"/>
              <a:gd name="T66" fmla="*/ 143 w 205"/>
              <a:gd name="T67" fmla="*/ 70 h 191"/>
              <a:gd name="T68" fmla="*/ 165 w 205"/>
              <a:gd name="T69" fmla="*/ 102 h 191"/>
              <a:gd name="T70" fmla="*/ 177 w 205"/>
              <a:gd name="T71" fmla="*/ 117 h 191"/>
              <a:gd name="T72" fmla="*/ 192 w 205"/>
              <a:gd name="T73" fmla="*/ 130 h 191"/>
              <a:gd name="T74" fmla="*/ 189 w 205"/>
              <a:gd name="T75" fmla="*/ 143 h 191"/>
              <a:gd name="T76" fmla="*/ 189 w 205"/>
              <a:gd name="T77" fmla="*/ 156 h 191"/>
              <a:gd name="T78" fmla="*/ 192 w 205"/>
              <a:gd name="T79" fmla="*/ 191 h 191"/>
              <a:gd name="T80" fmla="*/ 205 w 205"/>
              <a:gd name="T81" fmla="*/ 185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72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>
              <a:gd name="T0" fmla="*/ 3 w 329"/>
              <a:gd name="T1" fmla="*/ 58 h 154"/>
              <a:gd name="T2" fmla="*/ 0 w 329"/>
              <a:gd name="T3" fmla="*/ 42 h 154"/>
              <a:gd name="T4" fmla="*/ 2 w 329"/>
              <a:gd name="T5" fmla="*/ 31 h 154"/>
              <a:gd name="T6" fmla="*/ 17 w 329"/>
              <a:gd name="T7" fmla="*/ 33 h 154"/>
              <a:gd name="T8" fmla="*/ 36 w 329"/>
              <a:gd name="T9" fmla="*/ 41 h 154"/>
              <a:gd name="T10" fmla="*/ 49 w 329"/>
              <a:gd name="T11" fmla="*/ 43 h 154"/>
              <a:gd name="T12" fmla="*/ 67 w 329"/>
              <a:gd name="T13" fmla="*/ 43 h 154"/>
              <a:gd name="T14" fmla="*/ 86 w 329"/>
              <a:gd name="T15" fmla="*/ 39 h 154"/>
              <a:gd name="T16" fmla="*/ 110 w 329"/>
              <a:gd name="T17" fmla="*/ 30 h 154"/>
              <a:gd name="T18" fmla="*/ 140 w 329"/>
              <a:gd name="T19" fmla="*/ 13 h 154"/>
              <a:gd name="T20" fmla="*/ 162 w 329"/>
              <a:gd name="T21" fmla="*/ 4 h 154"/>
              <a:gd name="T22" fmla="*/ 179 w 329"/>
              <a:gd name="T23" fmla="*/ 0 h 154"/>
              <a:gd name="T24" fmla="*/ 203 w 329"/>
              <a:gd name="T25" fmla="*/ 0 h 154"/>
              <a:gd name="T26" fmla="*/ 224 w 329"/>
              <a:gd name="T27" fmla="*/ 6 h 154"/>
              <a:gd name="T28" fmla="*/ 243 w 329"/>
              <a:gd name="T29" fmla="*/ 15 h 154"/>
              <a:gd name="T30" fmla="*/ 259 w 329"/>
              <a:gd name="T31" fmla="*/ 28 h 154"/>
              <a:gd name="T32" fmla="*/ 280 w 329"/>
              <a:gd name="T33" fmla="*/ 46 h 154"/>
              <a:gd name="T34" fmla="*/ 302 w 329"/>
              <a:gd name="T35" fmla="*/ 61 h 154"/>
              <a:gd name="T36" fmla="*/ 319 w 329"/>
              <a:gd name="T37" fmla="*/ 67 h 154"/>
              <a:gd name="T38" fmla="*/ 313 w 329"/>
              <a:gd name="T39" fmla="*/ 82 h 154"/>
              <a:gd name="T40" fmla="*/ 293 w 329"/>
              <a:gd name="T41" fmla="*/ 106 h 154"/>
              <a:gd name="T42" fmla="*/ 277 w 329"/>
              <a:gd name="T43" fmla="*/ 138 h 154"/>
              <a:gd name="T44" fmla="*/ 265 w 329"/>
              <a:gd name="T45" fmla="*/ 153 h 154"/>
              <a:gd name="T46" fmla="*/ 253 w 329"/>
              <a:gd name="T47" fmla="*/ 146 h 154"/>
              <a:gd name="T48" fmla="*/ 240 w 329"/>
              <a:gd name="T49" fmla="*/ 136 h 154"/>
              <a:gd name="T50" fmla="*/ 230 w 329"/>
              <a:gd name="T51" fmla="*/ 126 h 154"/>
              <a:gd name="T52" fmla="*/ 230 w 329"/>
              <a:gd name="T53" fmla="*/ 114 h 154"/>
              <a:gd name="T54" fmla="*/ 235 w 329"/>
              <a:gd name="T55" fmla="*/ 100 h 154"/>
              <a:gd name="T56" fmla="*/ 249 w 329"/>
              <a:gd name="T57" fmla="*/ 86 h 154"/>
              <a:gd name="T58" fmla="*/ 233 w 329"/>
              <a:gd name="T59" fmla="*/ 68 h 154"/>
              <a:gd name="T60" fmla="*/ 207 w 329"/>
              <a:gd name="T61" fmla="*/ 55 h 154"/>
              <a:gd name="T62" fmla="*/ 195 w 329"/>
              <a:gd name="T63" fmla="*/ 41 h 154"/>
              <a:gd name="T64" fmla="*/ 179 w 329"/>
              <a:gd name="T65" fmla="*/ 34 h 154"/>
              <a:gd name="T66" fmla="*/ 163 w 329"/>
              <a:gd name="T67" fmla="*/ 41 h 154"/>
              <a:gd name="T68" fmla="*/ 150 w 329"/>
              <a:gd name="T69" fmla="*/ 50 h 154"/>
              <a:gd name="T70" fmla="*/ 140 w 329"/>
              <a:gd name="T71" fmla="*/ 61 h 154"/>
              <a:gd name="T72" fmla="*/ 132 w 329"/>
              <a:gd name="T73" fmla="*/ 74 h 154"/>
              <a:gd name="T74" fmla="*/ 128 w 329"/>
              <a:gd name="T75" fmla="*/ 88 h 154"/>
              <a:gd name="T76" fmla="*/ 123 w 329"/>
              <a:gd name="T77" fmla="*/ 109 h 154"/>
              <a:gd name="T78" fmla="*/ 122 w 329"/>
              <a:gd name="T79" fmla="*/ 125 h 154"/>
              <a:gd name="T80" fmla="*/ 118 w 329"/>
              <a:gd name="T81" fmla="*/ 129 h 154"/>
              <a:gd name="T82" fmla="*/ 108 w 329"/>
              <a:gd name="T83" fmla="*/ 135 h 154"/>
              <a:gd name="T84" fmla="*/ 96 w 329"/>
              <a:gd name="T85" fmla="*/ 135 h 154"/>
              <a:gd name="T86" fmla="*/ 83 w 329"/>
              <a:gd name="T87" fmla="*/ 129 h 154"/>
              <a:gd name="T88" fmla="*/ 66 w 329"/>
              <a:gd name="T89" fmla="*/ 116 h 154"/>
              <a:gd name="T90" fmla="*/ 48 w 329"/>
              <a:gd name="T91" fmla="*/ 94 h 154"/>
              <a:gd name="T92" fmla="*/ 33 w 329"/>
              <a:gd name="T93" fmla="*/ 80 h 154"/>
              <a:gd name="T94" fmla="*/ 22 w 329"/>
              <a:gd name="T95" fmla="*/ 74 h 154"/>
              <a:gd name="T96" fmla="*/ 3 w 329"/>
              <a:gd name="T97" fmla="*/ 73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73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>
              <a:gd name="T0" fmla="*/ 297 w 306"/>
              <a:gd name="T1" fmla="*/ 181 h 293"/>
              <a:gd name="T2" fmla="*/ 296 w 306"/>
              <a:gd name="T3" fmla="*/ 185 h 293"/>
              <a:gd name="T4" fmla="*/ 291 w 306"/>
              <a:gd name="T5" fmla="*/ 194 h 293"/>
              <a:gd name="T6" fmla="*/ 282 w 306"/>
              <a:gd name="T7" fmla="*/ 199 h 293"/>
              <a:gd name="T8" fmla="*/ 272 w 306"/>
              <a:gd name="T9" fmla="*/ 201 h 293"/>
              <a:gd name="T10" fmla="*/ 263 w 306"/>
              <a:gd name="T11" fmla="*/ 207 h 293"/>
              <a:gd name="T12" fmla="*/ 253 w 306"/>
              <a:gd name="T13" fmla="*/ 229 h 293"/>
              <a:gd name="T14" fmla="*/ 242 w 306"/>
              <a:gd name="T15" fmla="*/ 254 h 293"/>
              <a:gd name="T16" fmla="*/ 231 w 306"/>
              <a:gd name="T17" fmla="*/ 267 h 293"/>
              <a:gd name="T18" fmla="*/ 221 w 306"/>
              <a:gd name="T19" fmla="*/ 273 h 293"/>
              <a:gd name="T20" fmla="*/ 200 w 306"/>
              <a:gd name="T21" fmla="*/ 281 h 293"/>
              <a:gd name="T22" fmla="*/ 164 w 306"/>
              <a:gd name="T23" fmla="*/ 290 h 293"/>
              <a:gd name="T24" fmla="*/ 139 w 306"/>
              <a:gd name="T25" fmla="*/ 293 h 293"/>
              <a:gd name="T26" fmla="*/ 123 w 306"/>
              <a:gd name="T27" fmla="*/ 293 h 293"/>
              <a:gd name="T28" fmla="*/ 106 w 306"/>
              <a:gd name="T29" fmla="*/ 290 h 293"/>
              <a:gd name="T30" fmla="*/ 92 w 306"/>
              <a:gd name="T31" fmla="*/ 286 h 293"/>
              <a:gd name="T32" fmla="*/ 80 w 306"/>
              <a:gd name="T33" fmla="*/ 278 h 293"/>
              <a:gd name="T34" fmla="*/ 71 w 306"/>
              <a:gd name="T35" fmla="*/ 268 h 293"/>
              <a:gd name="T36" fmla="*/ 1 w 306"/>
              <a:gd name="T37" fmla="*/ 236 h 293"/>
              <a:gd name="T38" fmla="*/ 0 w 306"/>
              <a:gd name="T39" fmla="*/ 88 h 293"/>
              <a:gd name="T40" fmla="*/ 1 w 306"/>
              <a:gd name="T41" fmla="*/ 49 h 293"/>
              <a:gd name="T42" fmla="*/ 4 w 306"/>
              <a:gd name="T43" fmla="*/ 35 h 293"/>
              <a:gd name="T44" fmla="*/ 11 w 306"/>
              <a:gd name="T45" fmla="*/ 21 h 293"/>
              <a:gd name="T46" fmla="*/ 20 w 306"/>
              <a:gd name="T47" fmla="*/ 8 h 293"/>
              <a:gd name="T48" fmla="*/ 41 w 306"/>
              <a:gd name="T49" fmla="*/ 2 h 293"/>
              <a:gd name="T50" fmla="*/ 53 w 306"/>
              <a:gd name="T51" fmla="*/ 0 h 293"/>
              <a:gd name="T52" fmla="*/ 72 w 306"/>
              <a:gd name="T53" fmla="*/ 6 h 293"/>
              <a:gd name="T54" fmla="*/ 80 w 306"/>
              <a:gd name="T55" fmla="*/ 7 h 293"/>
              <a:gd name="T56" fmla="*/ 84 w 306"/>
              <a:gd name="T57" fmla="*/ 4 h 293"/>
              <a:gd name="T58" fmla="*/ 87 w 306"/>
              <a:gd name="T59" fmla="*/ 5 h 293"/>
              <a:gd name="T60" fmla="*/ 90 w 306"/>
              <a:gd name="T61" fmla="*/ 11 h 293"/>
              <a:gd name="T62" fmla="*/ 99 w 306"/>
              <a:gd name="T63" fmla="*/ 19 h 293"/>
              <a:gd name="T64" fmla="*/ 121 w 306"/>
              <a:gd name="T65" fmla="*/ 31 h 293"/>
              <a:gd name="T66" fmla="*/ 148 w 306"/>
              <a:gd name="T67" fmla="*/ 41 h 293"/>
              <a:gd name="T68" fmla="*/ 182 w 306"/>
              <a:gd name="T69" fmla="*/ 59 h 293"/>
              <a:gd name="T70" fmla="*/ 210 w 306"/>
              <a:gd name="T71" fmla="*/ 79 h 293"/>
              <a:gd name="T72" fmla="*/ 241 w 306"/>
              <a:gd name="T73" fmla="*/ 102 h 293"/>
              <a:gd name="T74" fmla="*/ 261 w 306"/>
              <a:gd name="T75" fmla="*/ 117 h 293"/>
              <a:gd name="T76" fmla="*/ 266 w 306"/>
              <a:gd name="T77" fmla="*/ 124 h 293"/>
              <a:gd name="T78" fmla="*/ 280 w 306"/>
              <a:gd name="T79" fmla="*/ 135 h 293"/>
              <a:gd name="T80" fmla="*/ 299 w 306"/>
              <a:gd name="T81" fmla="*/ 151 h 293"/>
              <a:gd name="T82" fmla="*/ 306 w 306"/>
              <a:gd name="T83" fmla="*/ 161 h 293"/>
              <a:gd name="T84" fmla="*/ 304 w 306"/>
              <a:gd name="T85" fmla="*/ 166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74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75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>
              <a:gd name="T0" fmla="*/ 240 w 1037"/>
              <a:gd name="T1" fmla="*/ 622 h 690"/>
              <a:gd name="T2" fmla="*/ 155 w 1037"/>
              <a:gd name="T3" fmla="*/ 683 h 690"/>
              <a:gd name="T4" fmla="*/ 32 w 1037"/>
              <a:gd name="T5" fmla="*/ 654 h 690"/>
              <a:gd name="T6" fmla="*/ 67 w 1037"/>
              <a:gd name="T7" fmla="*/ 634 h 690"/>
              <a:gd name="T8" fmla="*/ 18 w 1037"/>
              <a:gd name="T9" fmla="*/ 596 h 690"/>
              <a:gd name="T10" fmla="*/ 44 w 1037"/>
              <a:gd name="T11" fmla="*/ 595 h 690"/>
              <a:gd name="T12" fmla="*/ 67 w 1037"/>
              <a:gd name="T13" fmla="*/ 567 h 690"/>
              <a:gd name="T14" fmla="*/ 8 w 1037"/>
              <a:gd name="T15" fmla="*/ 546 h 690"/>
              <a:gd name="T16" fmla="*/ 74 w 1037"/>
              <a:gd name="T17" fmla="*/ 523 h 690"/>
              <a:gd name="T18" fmla="*/ 0 w 1037"/>
              <a:gd name="T19" fmla="*/ 499 h 690"/>
              <a:gd name="T20" fmla="*/ 20 w 1037"/>
              <a:gd name="T21" fmla="*/ 456 h 690"/>
              <a:gd name="T22" fmla="*/ 37 w 1037"/>
              <a:gd name="T23" fmla="*/ 461 h 690"/>
              <a:gd name="T24" fmla="*/ 77 w 1037"/>
              <a:gd name="T25" fmla="*/ 449 h 690"/>
              <a:gd name="T26" fmla="*/ 92 w 1037"/>
              <a:gd name="T27" fmla="*/ 424 h 690"/>
              <a:gd name="T28" fmla="*/ 130 w 1037"/>
              <a:gd name="T29" fmla="*/ 409 h 690"/>
              <a:gd name="T30" fmla="*/ 220 w 1037"/>
              <a:gd name="T31" fmla="*/ 382 h 690"/>
              <a:gd name="T32" fmla="*/ 227 w 1037"/>
              <a:gd name="T33" fmla="*/ 339 h 690"/>
              <a:gd name="T34" fmla="*/ 283 w 1037"/>
              <a:gd name="T35" fmla="*/ 325 h 690"/>
              <a:gd name="T36" fmla="*/ 282 w 1037"/>
              <a:gd name="T37" fmla="*/ 310 h 690"/>
              <a:gd name="T38" fmla="*/ 298 w 1037"/>
              <a:gd name="T39" fmla="*/ 285 h 690"/>
              <a:gd name="T40" fmla="*/ 335 w 1037"/>
              <a:gd name="T41" fmla="*/ 243 h 690"/>
              <a:gd name="T42" fmla="*/ 343 w 1037"/>
              <a:gd name="T43" fmla="*/ 226 h 690"/>
              <a:gd name="T44" fmla="*/ 390 w 1037"/>
              <a:gd name="T45" fmla="*/ 200 h 690"/>
              <a:gd name="T46" fmla="*/ 387 w 1037"/>
              <a:gd name="T47" fmla="*/ 157 h 690"/>
              <a:gd name="T48" fmla="*/ 373 w 1037"/>
              <a:gd name="T49" fmla="*/ 142 h 690"/>
              <a:gd name="T50" fmla="*/ 334 w 1037"/>
              <a:gd name="T51" fmla="*/ 154 h 690"/>
              <a:gd name="T52" fmla="*/ 390 w 1037"/>
              <a:gd name="T53" fmla="*/ 103 h 690"/>
              <a:gd name="T54" fmla="*/ 411 w 1037"/>
              <a:gd name="T55" fmla="*/ 96 h 690"/>
              <a:gd name="T56" fmla="*/ 463 w 1037"/>
              <a:gd name="T57" fmla="*/ 114 h 690"/>
              <a:gd name="T58" fmla="*/ 466 w 1037"/>
              <a:gd name="T59" fmla="*/ 91 h 690"/>
              <a:gd name="T60" fmla="*/ 558 w 1037"/>
              <a:gd name="T61" fmla="*/ 61 h 690"/>
              <a:gd name="T62" fmla="*/ 591 w 1037"/>
              <a:gd name="T63" fmla="*/ 63 h 690"/>
              <a:gd name="T64" fmla="*/ 645 w 1037"/>
              <a:gd name="T65" fmla="*/ 55 h 690"/>
              <a:gd name="T66" fmla="*/ 645 w 1037"/>
              <a:gd name="T67" fmla="*/ 33 h 690"/>
              <a:gd name="T68" fmla="*/ 699 w 1037"/>
              <a:gd name="T69" fmla="*/ 13 h 690"/>
              <a:gd name="T70" fmla="*/ 705 w 1037"/>
              <a:gd name="T71" fmla="*/ 29 h 690"/>
              <a:gd name="T72" fmla="*/ 712 w 1037"/>
              <a:gd name="T73" fmla="*/ 40 h 690"/>
              <a:gd name="T74" fmla="*/ 758 w 1037"/>
              <a:gd name="T75" fmla="*/ 12 h 690"/>
              <a:gd name="T76" fmla="*/ 817 w 1037"/>
              <a:gd name="T77" fmla="*/ 6 h 690"/>
              <a:gd name="T78" fmla="*/ 844 w 1037"/>
              <a:gd name="T79" fmla="*/ 8 h 690"/>
              <a:gd name="T80" fmla="*/ 862 w 1037"/>
              <a:gd name="T81" fmla="*/ 11 h 690"/>
              <a:gd name="T82" fmla="*/ 924 w 1037"/>
              <a:gd name="T83" fmla="*/ 6 h 690"/>
              <a:gd name="T84" fmla="*/ 1037 w 1037"/>
              <a:gd name="T85" fmla="*/ 43 h 690"/>
              <a:gd name="T86" fmla="*/ 1005 w 1037"/>
              <a:gd name="T87" fmla="*/ 79 h 690"/>
              <a:gd name="T88" fmla="*/ 930 w 1037"/>
              <a:gd name="T89" fmla="*/ 55 h 690"/>
              <a:gd name="T90" fmla="*/ 873 w 1037"/>
              <a:gd name="T91" fmla="*/ 74 h 690"/>
              <a:gd name="T92" fmla="*/ 848 w 1037"/>
              <a:gd name="T93" fmla="*/ 116 h 690"/>
              <a:gd name="T94" fmla="*/ 811 w 1037"/>
              <a:gd name="T95" fmla="*/ 111 h 690"/>
              <a:gd name="T96" fmla="*/ 745 w 1037"/>
              <a:gd name="T97" fmla="*/ 128 h 690"/>
              <a:gd name="T98" fmla="*/ 694 w 1037"/>
              <a:gd name="T99" fmla="*/ 92 h 690"/>
              <a:gd name="T100" fmla="*/ 620 w 1037"/>
              <a:gd name="T101" fmla="*/ 112 h 690"/>
              <a:gd name="T102" fmla="*/ 534 w 1037"/>
              <a:gd name="T103" fmla="*/ 134 h 690"/>
              <a:gd name="T104" fmla="*/ 486 w 1037"/>
              <a:gd name="T105" fmla="*/ 210 h 690"/>
              <a:gd name="T106" fmla="*/ 430 w 1037"/>
              <a:gd name="T107" fmla="*/ 279 h 690"/>
              <a:gd name="T108" fmla="*/ 399 w 1037"/>
              <a:gd name="T109" fmla="*/ 364 h 690"/>
              <a:gd name="T110" fmla="*/ 333 w 1037"/>
              <a:gd name="T111" fmla="*/ 425 h 690"/>
              <a:gd name="T112" fmla="*/ 355 w 1037"/>
              <a:gd name="T113" fmla="*/ 497 h 690"/>
              <a:gd name="T114" fmla="*/ 354 w 1037"/>
              <a:gd name="T115" fmla="*/ 558 h 690"/>
              <a:gd name="T116" fmla="*/ 331 w 1037"/>
              <a:gd name="T117" fmla="*/ 615 h 690"/>
              <a:gd name="T118" fmla="*/ 295 w 1037"/>
              <a:gd name="T119" fmla="*/ 645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/>
            <a:r>
              <a:rPr lang="de-DE" sz="300" dirty="0" smtClean="0">
                <a:latin typeface="Andale Mono" charset="0"/>
                <a:ea typeface="Andale Mono" charset="0"/>
                <a:cs typeface="Andale Mono" charset="0"/>
              </a:rPr>
              <a:t>OMX</a:t>
            </a:r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76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>
              <a:gd name="T0" fmla="*/ 120 w 120"/>
              <a:gd name="T1" fmla="*/ 99 h 173"/>
              <a:gd name="T2" fmla="*/ 92 w 120"/>
              <a:gd name="T3" fmla="*/ 60 h 173"/>
              <a:gd name="T4" fmla="*/ 70 w 120"/>
              <a:gd name="T5" fmla="*/ 28 h 173"/>
              <a:gd name="T6" fmla="*/ 60 w 120"/>
              <a:gd name="T7" fmla="*/ 16 h 173"/>
              <a:gd name="T8" fmla="*/ 53 w 120"/>
              <a:gd name="T9" fmla="*/ 8 h 173"/>
              <a:gd name="T10" fmla="*/ 48 w 120"/>
              <a:gd name="T11" fmla="*/ 4 h 173"/>
              <a:gd name="T12" fmla="*/ 45 w 120"/>
              <a:gd name="T13" fmla="*/ 2 h 173"/>
              <a:gd name="T14" fmla="*/ 43 w 120"/>
              <a:gd name="T15" fmla="*/ 1 h 173"/>
              <a:gd name="T16" fmla="*/ 39 w 120"/>
              <a:gd name="T17" fmla="*/ 0 h 173"/>
              <a:gd name="T18" fmla="*/ 33 w 120"/>
              <a:gd name="T19" fmla="*/ 0 h 173"/>
              <a:gd name="T20" fmla="*/ 27 w 120"/>
              <a:gd name="T21" fmla="*/ 1 h 173"/>
              <a:gd name="T22" fmla="*/ 24 w 120"/>
              <a:gd name="T23" fmla="*/ 3 h 173"/>
              <a:gd name="T24" fmla="*/ 21 w 120"/>
              <a:gd name="T25" fmla="*/ 5 h 173"/>
              <a:gd name="T26" fmla="*/ 19 w 120"/>
              <a:gd name="T27" fmla="*/ 8 h 173"/>
              <a:gd name="T28" fmla="*/ 16 w 120"/>
              <a:gd name="T29" fmla="*/ 12 h 173"/>
              <a:gd name="T30" fmla="*/ 15 w 120"/>
              <a:gd name="T31" fmla="*/ 15 h 173"/>
              <a:gd name="T32" fmla="*/ 15 w 120"/>
              <a:gd name="T33" fmla="*/ 20 h 173"/>
              <a:gd name="T34" fmla="*/ 14 w 120"/>
              <a:gd name="T35" fmla="*/ 30 h 173"/>
              <a:gd name="T36" fmla="*/ 12 w 120"/>
              <a:gd name="T37" fmla="*/ 42 h 173"/>
              <a:gd name="T38" fmla="*/ 10 w 120"/>
              <a:gd name="T39" fmla="*/ 48 h 173"/>
              <a:gd name="T40" fmla="*/ 8 w 120"/>
              <a:gd name="T41" fmla="*/ 54 h 173"/>
              <a:gd name="T42" fmla="*/ 4 w 120"/>
              <a:gd name="T43" fmla="*/ 61 h 173"/>
              <a:gd name="T44" fmla="*/ 0 w 120"/>
              <a:gd name="T45" fmla="*/ 68 h 173"/>
              <a:gd name="T46" fmla="*/ 5 w 120"/>
              <a:gd name="T47" fmla="*/ 82 h 173"/>
              <a:gd name="T48" fmla="*/ 10 w 120"/>
              <a:gd name="T49" fmla="*/ 99 h 173"/>
              <a:gd name="T50" fmla="*/ 15 w 120"/>
              <a:gd name="T51" fmla="*/ 115 h 173"/>
              <a:gd name="T52" fmla="*/ 20 w 120"/>
              <a:gd name="T53" fmla="*/ 129 h 173"/>
              <a:gd name="T54" fmla="*/ 24 w 120"/>
              <a:gd name="T55" fmla="*/ 134 h 173"/>
              <a:gd name="T56" fmla="*/ 30 w 120"/>
              <a:gd name="T57" fmla="*/ 139 h 173"/>
              <a:gd name="T58" fmla="*/ 37 w 120"/>
              <a:gd name="T59" fmla="*/ 145 h 173"/>
              <a:gd name="T60" fmla="*/ 46 w 120"/>
              <a:gd name="T61" fmla="*/ 151 h 173"/>
              <a:gd name="T62" fmla="*/ 54 w 120"/>
              <a:gd name="T63" fmla="*/ 157 h 173"/>
              <a:gd name="T64" fmla="*/ 60 w 120"/>
              <a:gd name="T65" fmla="*/ 163 h 173"/>
              <a:gd name="T66" fmla="*/ 62 w 120"/>
              <a:gd name="T67" fmla="*/ 165 h 173"/>
              <a:gd name="T68" fmla="*/ 65 w 120"/>
              <a:gd name="T69" fmla="*/ 168 h 173"/>
              <a:gd name="T70" fmla="*/ 66 w 120"/>
              <a:gd name="T71" fmla="*/ 170 h 173"/>
              <a:gd name="T72" fmla="*/ 67 w 120"/>
              <a:gd name="T73" fmla="*/ 173 h 173"/>
              <a:gd name="T74" fmla="*/ 76 w 120"/>
              <a:gd name="T75" fmla="*/ 167 h 173"/>
              <a:gd name="T76" fmla="*/ 86 w 120"/>
              <a:gd name="T77" fmla="*/ 160 h 173"/>
              <a:gd name="T78" fmla="*/ 93 w 120"/>
              <a:gd name="T79" fmla="*/ 152 h 173"/>
              <a:gd name="T80" fmla="*/ 101 w 120"/>
              <a:gd name="T81" fmla="*/ 142 h 173"/>
              <a:gd name="T82" fmla="*/ 106 w 120"/>
              <a:gd name="T83" fmla="*/ 132 h 173"/>
              <a:gd name="T84" fmla="*/ 112 w 120"/>
              <a:gd name="T85" fmla="*/ 121 h 173"/>
              <a:gd name="T86" fmla="*/ 116 w 120"/>
              <a:gd name="T87" fmla="*/ 110 h 173"/>
              <a:gd name="T88" fmla="*/ 120 w 120"/>
              <a:gd name="T89" fmla="*/ 9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78" name="Freeform 230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>
              <a:gd name="T0" fmla="*/ 0 w 186"/>
              <a:gd name="T1" fmla="*/ 112 h 142"/>
              <a:gd name="T2" fmla="*/ 2 w 186"/>
              <a:gd name="T3" fmla="*/ 116 h 142"/>
              <a:gd name="T4" fmla="*/ 3 w 186"/>
              <a:gd name="T5" fmla="*/ 107 h 142"/>
              <a:gd name="T6" fmla="*/ 3 w 186"/>
              <a:gd name="T7" fmla="*/ 93 h 142"/>
              <a:gd name="T8" fmla="*/ 9 w 186"/>
              <a:gd name="T9" fmla="*/ 82 h 142"/>
              <a:gd name="T10" fmla="*/ 17 w 186"/>
              <a:gd name="T11" fmla="*/ 69 h 142"/>
              <a:gd name="T12" fmla="*/ 20 w 186"/>
              <a:gd name="T13" fmla="*/ 56 h 142"/>
              <a:gd name="T14" fmla="*/ 23 w 186"/>
              <a:gd name="T15" fmla="*/ 46 h 142"/>
              <a:gd name="T16" fmla="*/ 28 w 186"/>
              <a:gd name="T17" fmla="*/ 37 h 142"/>
              <a:gd name="T18" fmla="*/ 35 w 186"/>
              <a:gd name="T19" fmla="*/ 32 h 142"/>
              <a:gd name="T20" fmla="*/ 41 w 186"/>
              <a:gd name="T21" fmla="*/ 38 h 142"/>
              <a:gd name="T22" fmla="*/ 43 w 186"/>
              <a:gd name="T23" fmla="*/ 49 h 142"/>
              <a:gd name="T24" fmla="*/ 47 w 186"/>
              <a:gd name="T25" fmla="*/ 58 h 142"/>
              <a:gd name="T26" fmla="*/ 55 w 186"/>
              <a:gd name="T27" fmla="*/ 65 h 142"/>
              <a:gd name="T28" fmla="*/ 87 w 186"/>
              <a:gd name="T29" fmla="*/ 67 h 142"/>
              <a:gd name="T30" fmla="*/ 79 w 186"/>
              <a:gd name="T31" fmla="*/ 41 h 142"/>
              <a:gd name="T32" fmla="*/ 69 w 186"/>
              <a:gd name="T33" fmla="*/ 36 h 142"/>
              <a:gd name="T34" fmla="*/ 63 w 186"/>
              <a:gd name="T35" fmla="*/ 30 h 142"/>
              <a:gd name="T36" fmla="*/ 61 w 186"/>
              <a:gd name="T37" fmla="*/ 23 h 142"/>
              <a:gd name="T38" fmla="*/ 70 w 186"/>
              <a:gd name="T39" fmla="*/ 17 h 142"/>
              <a:gd name="T40" fmla="*/ 87 w 186"/>
              <a:gd name="T41" fmla="*/ 14 h 142"/>
              <a:gd name="T42" fmla="*/ 98 w 186"/>
              <a:gd name="T43" fmla="*/ 10 h 142"/>
              <a:gd name="T44" fmla="*/ 111 w 186"/>
              <a:gd name="T45" fmla="*/ 6 h 142"/>
              <a:gd name="T46" fmla="*/ 130 w 186"/>
              <a:gd name="T47" fmla="*/ 3 h 142"/>
              <a:gd name="T48" fmla="*/ 147 w 186"/>
              <a:gd name="T49" fmla="*/ 1 h 142"/>
              <a:gd name="T50" fmla="*/ 159 w 186"/>
              <a:gd name="T51" fmla="*/ 2 h 142"/>
              <a:gd name="T52" fmla="*/ 176 w 186"/>
              <a:gd name="T53" fmla="*/ 1 h 142"/>
              <a:gd name="T54" fmla="*/ 183 w 186"/>
              <a:gd name="T55" fmla="*/ 10 h 142"/>
              <a:gd name="T56" fmla="*/ 178 w 186"/>
              <a:gd name="T57" fmla="*/ 26 h 142"/>
              <a:gd name="T58" fmla="*/ 169 w 186"/>
              <a:gd name="T59" fmla="*/ 40 h 142"/>
              <a:gd name="T60" fmla="*/ 159 w 186"/>
              <a:gd name="T61" fmla="*/ 51 h 142"/>
              <a:gd name="T62" fmla="*/ 155 w 186"/>
              <a:gd name="T63" fmla="*/ 63 h 142"/>
              <a:gd name="T64" fmla="*/ 153 w 186"/>
              <a:gd name="T65" fmla="*/ 76 h 142"/>
              <a:gd name="T66" fmla="*/ 120 w 186"/>
              <a:gd name="T67" fmla="*/ 142 h 142"/>
              <a:gd name="T68" fmla="*/ 80 w 186"/>
              <a:gd name="T69" fmla="*/ 122 h 142"/>
              <a:gd name="T70" fmla="*/ 35 w 186"/>
              <a:gd name="T71" fmla="*/ 117 h 142"/>
              <a:gd name="T72" fmla="*/ 8 w 186"/>
              <a:gd name="T73" fmla="*/ 113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79" name="Freeform 231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>
              <a:gd name="T0" fmla="*/ 192 w 192"/>
              <a:gd name="T1" fmla="*/ 61 h 105"/>
              <a:gd name="T2" fmla="*/ 189 w 192"/>
              <a:gd name="T3" fmla="*/ 62 h 105"/>
              <a:gd name="T4" fmla="*/ 184 w 192"/>
              <a:gd name="T5" fmla="*/ 63 h 105"/>
              <a:gd name="T6" fmla="*/ 180 w 192"/>
              <a:gd name="T7" fmla="*/ 64 h 105"/>
              <a:gd name="T8" fmla="*/ 177 w 192"/>
              <a:gd name="T9" fmla="*/ 67 h 105"/>
              <a:gd name="T10" fmla="*/ 168 w 192"/>
              <a:gd name="T11" fmla="*/ 72 h 105"/>
              <a:gd name="T12" fmla="*/ 160 w 192"/>
              <a:gd name="T13" fmla="*/ 79 h 105"/>
              <a:gd name="T14" fmla="*/ 154 w 192"/>
              <a:gd name="T15" fmla="*/ 86 h 105"/>
              <a:gd name="T16" fmla="*/ 147 w 192"/>
              <a:gd name="T17" fmla="*/ 93 h 105"/>
              <a:gd name="T18" fmla="*/ 143 w 192"/>
              <a:gd name="T19" fmla="*/ 99 h 105"/>
              <a:gd name="T20" fmla="*/ 139 w 192"/>
              <a:gd name="T21" fmla="*/ 105 h 105"/>
              <a:gd name="T22" fmla="*/ 120 w 192"/>
              <a:gd name="T23" fmla="*/ 97 h 105"/>
              <a:gd name="T24" fmla="*/ 102 w 192"/>
              <a:gd name="T25" fmla="*/ 89 h 105"/>
              <a:gd name="T26" fmla="*/ 86 w 192"/>
              <a:gd name="T27" fmla="*/ 80 h 105"/>
              <a:gd name="T28" fmla="*/ 69 w 192"/>
              <a:gd name="T29" fmla="*/ 71 h 105"/>
              <a:gd name="T30" fmla="*/ 53 w 192"/>
              <a:gd name="T31" fmla="*/ 61 h 105"/>
              <a:gd name="T32" fmla="*/ 36 w 192"/>
              <a:gd name="T33" fmla="*/ 53 h 105"/>
              <a:gd name="T34" fmla="*/ 19 w 192"/>
              <a:gd name="T35" fmla="*/ 44 h 105"/>
              <a:gd name="T36" fmla="*/ 0 w 192"/>
              <a:gd name="T37" fmla="*/ 37 h 105"/>
              <a:gd name="T38" fmla="*/ 0 w 192"/>
              <a:gd name="T39" fmla="*/ 13 h 105"/>
              <a:gd name="T40" fmla="*/ 7 w 192"/>
              <a:gd name="T41" fmla="*/ 7 h 105"/>
              <a:gd name="T42" fmla="*/ 16 w 192"/>
              <a:gd name="T43" fmla="*/ 4 h 105"/>
              <a:gd name="T44" fmla="*/ 29 w 192"/>
              <a:gd name="T45" fmla="*/ 1 h 105"/>
              <a:gd name="T46" fmla="*/ 40 w 192"/>
              <a:gd name="T47" fmla="*/ 0 h 105"/>
              <a:gd name="T48" fmla="*/ 60 w 192"/>
              <a:gd name="T49" fmla="*/ 2 h 105"/>
              <a:gd name="T50" fmla="*/ 93 w 192"/>
              <a:gd name="T51" fmla="*/ 5 h 105"/>
              <a:gd name="T52" fmla="*/ 111 w 192"/>
              <a:gd name="T53" fmla="*/ 7 h 105"/>
              <a:gd name="T54" fmla="*/ 128 w 192"/>
              <a:gd name="T55" fmla="*/ 7 h 105"/>
              <a:gd name="T56" fmla="*/ 143 w 192"/>
              <a:gd name="T57" fmla="*/ 7 h 105"/>
              <a:gd name="T58" fmla="*/ 153 w 192"/>
              <a:gd name="T59" fmla="*/ 6 h 105"/>
              <a:gd name="T60" fmla="*/ 155 w 192"/>
              <a:gd name="T61" fmla="*/ 11 h 105"/>
              <a:gd name="T62" fmla="*/ 159 w 192"/>
              <a:gd name="T63" fmla="*/ 17 h 105"/>
              <a:gd name="T64" fmla="*/ 161 w 192"/>
              <a:gd name="T65" fmla="*/ 20 h 105"/>
              <a:gd name="T66" fmla="*/ 164 w 192"/>
              <a:gd name="T67" fmla="*/ 23 h 105"/>
              <a:gd name="T68" fmla="*/ 165 w 192"/>
              <a:gd name="T69" fmla="*/ 27 h 105"/>
              <a:gd name="T70" fmla="*/ 166 w 192"/>
              <a:gd name="T71" fmla="*/ 31 h 105"/>
              <a:gd name="T72" fmla="*/ 170 w 192"/>
              <a:gd name="T73" fmla="*/ 32 h 105"/>
              <a:gd name="T74" fmla="*/ 177 w 192"/>
              <a:gd name="T75" fmla="*/ 33 h 105"/>
              <a:gd name="T76" fmla="*/ 180 w 192"/>
              <a:gd name="T77" fmla="*/ 34 h 105"/>
              <a:gd name="T78" fmla="*/ 183 w 192"/>
              <a:gd name="T79" fmla="*/ 34 h 105"/>
              <a:gd name="T80" fmla="*/ 188 w 192"/>
              <a:gd name="T81" fmla="*/ 33 h 105"/>
              <a:gd name="T82" fmla="*/ 192 w 192"/>
              <a:gd name="T83" fmla="*/ 31 h 105"/>
              <a:gd name="T84" fmla="*/ 192 w 192"/>
              <a:gd name="T85" fmla="*/ 61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80" name="Freeform 232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830763" y="2595563"/>
            <a:ext cx="33337" cy="131762"/>
          </a:xfrm>
          <a:custGeom>
            <a:avLst/>
            <a:gdLst>
              <a:gd name="T0" fmla="*/ 33 w 80"/>
              <a:gd name="T1" fmla="*/ 0 h 254"/>
              <a:gd name="T2" fmla="*/ 37 w 80"/>
              <a:gd name="T3" fmla="*/ 2 h 254"/>
              <a:gd name="T4" fmla="*/ 40 w 80"/>
              <a:gd name="T5" fmla="*/ 4 h 254"/>
              <a:gd name="T6" fmla="*/ 43 w 80"/>
              <a:gd name="T7" fmla="*/ 7 h 254"/>
              <a:gd name="T8" fmla="*/ 46 w 80"/>
              <a:gd name="T9" fmla="*/ 10 h 254"/>
              <a:gd name="T10" fmla="*/ 52 w 80"/>
              <a:gd name="T11" fmla="*/ 18 h 254"/>
              <a:gd name="T12" fmla="*/ 56 w 80"/>
              <a:gd name="T13" fmla="*/ 25 h 254"/>
              <a:gd name="T14" fmla="*/ 62 w 80"/>
              <a:gd name="T15" fmla="*/ 32 h 254"/>
              <a:gd name="T16" fmla="*/ 67 w 80"/>
              <a:gd name="T17" fmla="*/ 38 h 254"/>
              <a:gd name="T18" fmla="*/ 70 w 80"/>
              <a:gd name="T19" fmla="*/ 40 h 254"/>
              <a:gd name="T20" fmla="*/ 73 w 80"/>
              <a:gd name="T21" fmla="*/ 42 h 254"/>
              <a:gd name="T22" fmla="*/ 76 w 80"/>
              <a:gd name="T23" fmla="*/ 43 h 254"/>
              <a:gd name="T24" fmla="*/ 80 w 80"/>
              <a:gd name="T25" fmla="*/ 44 h 254"/>
              <a:gd name="T26" fmla="*/ 80 w 80"/>
              <a:gd name="T27" fmla="*/ 53 h 254"/>
              <a:gd name="T28" fmla="*/ 80 w 80"/>
              <a:gd name="T29" fmla="*/ 62 h 254"/>
              <a:gd name="T30" fmla="*/ 53 w 80"/>
              <a:gd name="T31" fmla="*/ 254 h 254"/>
              <a:gd name="T32" fmla="*/ 0 w 80"/>
              <a:gd name="T33" fmla="*/ 93 h 254"/>
              <a:gd name="T34" fmla="*/ 4 w 80"/>
              <a:gd name="T35" fmla="*/ 88 h 254"/>
              <a:gd name="T36" fmla="*/ 11 w 80"/>
              <a:gd name="T37" fmla="*/ 71 h 254"/>
              <a:gd name="T38" fmla="*/ 17 w 80"/>
              <a:gd name="T39" fmla="*/ 57 h 254"/>
              <a:gd name="T40" fmla="*/ 22 w 80"/>
              <a:gd name="T41" fmla="*/ 41 h 254"/>
              <a:gd name="T42" fmla="*/ 28 w 80"/>
              <a:gd name="T43" fmla="*/ 23 h 254"/>
              <a:gd name="T44" fmla="*/ 33 w 80"/>
              <a:gd name="T45" fmla="*/ 0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81" name="Freeform 233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>
              <a:gd name="T0" fmla="*/ 114 w 167"/>
              <a:gd name="T1" fmla="*/ 0 h 259"/>
              <a:gd name="T2" fmla="*/ 167 w 167"/>
              <a:gd name="T3" fmla="*/ 155 h 259"/>
              <a:gd name="T4" fmla="*/ 121 w 167"/>
              <a:gd name="T5" fmla="*/ 259 h 259"/>
              <a:gd name="T6" fmla="*/ 113 w 167"/>
              <a:gd name="T7" fmla="*/ 259 h 259"/>
              <a:gd name="T8" fmla="*/ 107 w 167"/>
              <a:gd name="T9" fmla="*/ 257 h 259"/>
              <a:gd name="T10" fmla="*/ 100 w 167"/>
              <a:gd name="T11" fmla="*/ 254 h 259"/>
              <a:gd name="T12" fmla="*/ 95 w 167"/>
              <a:gd name="T13" fmla="*/ 251 h 259"/>
              <a:gd name="T14" fmla="*/ 89 w 167"/>
              <a:gd name="T15" fmla="*/ 245 h 259"/>
              <a:gd name="T16" fmla="*/ 85 w 167"/>
              <a:gd name="T17" fmla="*/ 240 h 259"/>
              <a:gd name="T18" fmla="*/ 80 w 167"/>
              <a:gd name="T19" fmla="*/ 235 h 259"/>
              <a:gd name="T20" fmla="*/ 76 w 167"/>
              <a:gd name="T21" fmla="*/ 229 h 259"/>
              <a:gd name="T22" fmla="*/ 69 w 167"/>
              <a:gd name="T23" fmla="*/ 217 h 259"/>
              <a:gd name="T24" fmla="*/ 65 w 167"/>
              <a:gd name="T25" fmla="*/ 205 h 259"/>
              <a:gd name="T26" fmla="*/ 62 w 167"/>
              <a:gd name="T27" fmla="*/ 194 h 259"/>
              <a:gd name="T28" fmla="*/ 62 w 167"/>
              <a:gd name="T29" fmla="*/ 185 h 259"/>
              <a:gd name="T30" fmla="*/ 55 w 167"/>
              <a:gd name="T31" fmla="*/ 184 h 259"/>
              <a:gd name="T32" fmla="*/ 51 w 167"/>
              <a:gd name="T33" fmla="*/ 183 h 259"/>
              <a:gd name="T34" fmla="*/ 45 w 167"/>
              <a:gd name="T35" fmla="*/ 182 h 259"/>
              <a:gd name="T36" fmla="*/ 42 w 167"/>
              <a:gd name="T37" fmla="*/ 180 h 259"/>
              <a:gd name="T38" fmla="*/ 39 w 167"/>
              <a:gd name="T39" fmla="*/ 177 h 259"/>
              <a:gd name="T40" fmla="*/ 36 w 167"/>
              <a:gd name="T41" fmla="*/ 174 h 259"/>
              <a:gd name="T42" fmla="*/ 34 w 167"/>
              <a:gd name="T43" fmla="*/ 170 h 259"/>
              <a:gd name="T44" fmla="*/ 32 w 167"/>
              <a:gd name="T45" fmla="*/ 167 h 259"/>
              <a:gd name="T46" fmla="*/ 30 w 167"/>
              <a:gd name="T47" fmla="*/ 158 h 259"/>
              <a:gd name="T48" fmla="*/ 29 w 167"/>
              <a:gd name="T49" fmla="*/ 149 h 259"/>
              <a:gd name="T50" fmla="*/ 28 w 167"/>
              <a:gd name="T51" fmla="*/ 140 h 259"/>
              <a:gd name="T52" fmla="*/ 28 w 167"/>
              <a:gd name="T53" fmla="*/ 129 h 259"/>
              <a:gd name="T54" fmla="*/ 21 w 167"/>
              <a:gd name="T55" fmla="*/ 129 h 259"/>
              <a:gd name="T56" fmla="*/ 16 w 167"/>
              <a:gd name="T57" fmla="*/ 127 h 259"/>
              <a:gd name="T58" fmla="*/ 11 w 167"/>
              <a:gd name="T59" fmla="*/ 125 h 259"/>
              <a:gd name="T60" fmla="*/ 7 w 167"/>
              <a:gd name="T61" fmla="*/ 121 h 259"/>
              <a:gd name="T62" fmla="*/ 5 w 167"/>
              <a:gd name="T63" fmla="*/ 117 h 259"/>
              <a:gd name="T64" fmla="*/ 2 w 167"/>
              <a:gd name="T65" fmla="*/ 112 h 259"/>
              <a:gd name="T66" fmla="*/ 0 w 167"/>
              <a:gd name="T67" fmla="*/ 107 h 259"/>
              <a:gd name="T68" fmla="*/ 0 w 167"/>
              <a:gd name="T69" fmla="*/ 101 h 259"/>
              <a:gd name="T70" fmla="*/ 0 w 167"/>
              <a:gd name="T71" fmla="*/ 75 h 259"/>
              <a:gd name="T72" fmla="*/ 1 w 167"/>
              <a:gd name="T73" fmla="*/ 50 h 259"/>
              <a:gd name="T74" fmla="*/ 12 w 167"/>
              <a:gd name="T75" fmla="*/ 52 h 259"/>
              <a:gd name="T76" fmla="*/ 22 w 167"/>
              <a:gd name="T77" fmla="*/ 53 h 259"/>
              <a:gd name="T78" fmla="*/ 32 w 167"/>
              <a:gd name="T79" fmla="*/ 53 h 259"/>
              <a:gd name="T80" fmla="*/ 42 w 167"/>
              <a:gd name="T81" fmla="*/ 52 h 259"/>
              <a:gd name="T82" fmla="*/ 50 w 167"/>
              <a:gd name="T83" fmla="*/ 51 h 259"/>
              <a:gd name="T84" fmla="*/ 58 w 167"/>
              <a:gd name="T85" fmla="*/ 49 h 259"/>
              <a:gd name="T86" fmla="*/ 66 w 167"/>
              <a:gd name="T87" fmla="*/ 47 h 259"/>
              <a:gd name="T88" fmla="*/ 73 w 167"/>
              <a:gd name="T89" fmla="*/ 44 h 259"/>
              <a:gd name="T90" fmla="*/ 79 w 167"/>
              <a:gd name="T91" fmla="*/ 40 h 259"/>
              <a:gd name="T92" fmla="*/ 86 w 167"/>
              <a:gd name="T93" fmla="*/ 36 h 259"/>
              <a:gd name="T94" fmla="*/ 91 w 167"/>
              <a:gd name="T95" fmla="*/ 31 h 259"/>
              <a:gd name="T96" fmla="*/ 97 w 167"/>
              <a:gd name="T97" fmla="*/ 26 h 259"/>
              <a:gd name="T98" fmla="*/ 107 w 167"/>
              <a:gd name="T99" fmla="*/ 13 h 259"/>
              <a:gd name="T100" fmla="*/ 114 w 167"/>
              <a:gd name="T101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82" name="Freeform 234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>
              <a:gd name="T0" fmla="*/ 185 w 225"/>
              <a:gd name="T1" fmla="*/ 67 h 273"/>
              <a:gd name="T2" fmla="*/ 173 w 225"/>
              <a:gd name="T3" fmla="*/ 78 h 273"/>
              <a:gd name="T4" fmla="*/ 159 w 225"/>
              <a:gd name="T5" fmla="*/ 82 h 273"/>
              <a:gd name="T6" fmla="*/ 163 w 225"/>
              <a:gd name="T7" fmla="*/ 93 h 273"/>
              <a:gd name="T8" fmla="*/ 174 w 225"/>
              <a:gd name="T9" fmla="*/ 101 h 273"/>
              <a:gd name="T10" fmla="*/ 195 w 225"/>
              <a:gd name="T11" fmla="*/ 105 h 273"/>
              <a:gd name="T12" fmla="*/ 225 w 225"/>
              <a:gd name="T13" fmla="*/ 106 h 273"/>
              <a:gd name="T14" fmla="*/ 225 w 225"/>
              <a:gd name="T15" fmla="*/ 152 h 273"/>
              <a:gd name="T16" fmla="*/ 224 w 225"/>
              <a:gd name="T17" fmla="*/ 176 h 273"/>
              <a:gd name="T18" fmla="*/ 215 w 225"/>
              <a:gd name="T19" fmla="*/ 187 h 273"/>
              <a:gd name="T20" fmla="*/ 197 w 225"/>
              <a:gd name="T21" fmla="*/ 205 h 273"/>
              <a:gd name="T22" fmla="*/ 192 w 225"/>
              <a:gd name="T23" fmla="*/ 214 h 273"/>
              <a:gd name="T24" fmla="*/ 179 w 225"/>
              <a:gd name="T25" fmla="*/ 218 h 273"/>
              <a:gd name="T26" fmla="*/ 164 w 225"/>
              <a:gd name="T27" fmla="*/ 225 h 273"/>
              <a:gd name="T28" fmla="*/ 159 w 225"/>
              <a:gd name="T29" fmla="*/ 236 h 273"/>
              <a:gd name="T30" fmla="*/ 140 w 225"/>
              <a:gd name="T31" fmla="*/ 242 h 273"/>
              <a:gd name="T32" fmla="*/ 128 w 225"/>
              <a:gd name="T33" fmla="*/ 252 h 273"/>
              <a:gd name="T34" fmla="*/ 101 w 225"/>
              <a:gd name="T35" fmla="*/ 255 h 273"/>
              <a:gd name="T36" fmla="*/ 60 w 225"/>
              <a:gd name="T37" fmla="*/ 261 h 273"/>
              <a:gd name="T38" fmla="*/ 19 w 225"/>
              <a:gd name="T39" fmla="*/ 261 h 273"/>
              <a:gd name="T40" fmla="*/ 0 w 225"/>
              <a:gd name="T41" fmla="*/ 217 h 273"/>
              <a:gd name="T42" fmla="*/ 21 w 225"/>
              <a:gd name="T43" fmla="*/ 212 h 273"/>
              <a:gd name="T44" fmla="*/ 26 w 225"/>
              <a:gd name="T45" fmla="*/ 205 h 273"/>
              <a:gd name="T46" fmla="*/ 60 w 225"/>
              <a:gd name="T47" fmla="*/ 202 h 273"/>
              <a:gd name="T48" fmla="*/ 72 w 225"/>
              <a:gd name="T49" fmla="*/ 193 h 273"/>
              <a:gd name="T50" fmla="*/ 48 w 225"/>
              <a:gd name="T51" fmla="*/ 198 h 273"/>
              <a:gd name="T52" fmla="*/ 40 w 225"/>
              <a:gd name="T53" fmla="*/ 197 h 273"/>
              <a:gd name="T54" fmla="*/ 39 w 225"/>
              <a:gd name="T55" fmla="*/ 188 h 273"/>
              <a:gd name="T56" fmla="*/ 46 w 225"/>
              <a:gd name="T57" fmla="*/ 173 h 273"/>
              <a:gd name="T58" fmla="*/ 39 w 225"/>
              <a:gd name="T59" fmla="*/ 160 h 273"/>
              <a:gd name="T60" fmla="*/ 14 w 225"/>
              <a:gd name="T61" fmla="*/ 150 h 273"/>
              <a:gd name="T62" fmla="*/ 6 w 225"/>
              <a:gd name="T63" fmla="*/ 130 h 273"/>
              <a:gd name="T64" fmla="*/ 22 w 225"/>
              <a:gd name="T65" fmla="*/ 115 h 273"/>
              <a:gd name="T66" fmla="*/ 35 w 225"/>
              <a:gd name="T67" fmla="*/ 102 h 273"/>
              <a:gd name="T68" fmla="*/ 68 w 225"/>
              <a:gd name="T69" fmla="*/ 94 h 273"/>
              <a:gd name="T70" fmla="*/ 90 w 225"/>
              <a:gd name="T71" fmla="*/ 94 h 273"/>
              <a:gd name="T72" fmla="*/ 100 w 225"/>
              <a:gd name="T73" fmla="*/ 88 h 273"/>
              <a:gd name="T74" fmla="*/ 108 w 225"/>
              <a:gd name="T75" fmla="*/ 52 h 273"/>
              <a:gd name="T76" fmla="*/ 120 w 225"/>
              <a:gd name="T77" fmla="*/ 31 h 273"/>
              <a:gd name="T78" fmla="*/ 130 w 225"/>
              <a:gd name="T79" fmla="*/ 20 h 273"/>
              <a:gd name="T80" fmla="*/ 141 w 225"/>
              <a:gd name="T81" fmla="*/ 7 h 273"/>
              <a:gd name="T82" fmla="*/ 155 w 225"/>
              <a:gd name="T83" fmla="*/ 1 h 273"/>
              <a:gd name="T84" fmla="*/ 179 w 225"/>
              <a:gd name="T85" fmla="*/ 3 h 273"/>
              <a:gd name="T86" fmla="*/ 195 w 225"/>
              <a:gd name="T87" fmla="*/ 38 h 273"/>
              <a:gd name="T88" fmla="*/ 196 w 225"/>
              <a:gd name="T89" fmla="*/ 47 h 273"/>
              <a:gd name="T90" fmla="*/ 190 w 225"/>
              <a:gd name="T91" fmla="*/ 56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83" name="Freeform 235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>
              <a:gd name="T0" fmla="*/ 94 w 232"/>
              <a:gd name="T1" fmla="*/ 246 h 248"/>
              <a:gd name="T2" fmla="*/ 96 w 232"/>
              <a:gd name="T3" fmla="*/ 243 h 248"/>
              <a:gd name="T4" fmla="*/ 98 w 232"/>
              <a:gd name="T5" fmla="*/ 238 h 248"/>
              <a:gd name="T6" fmla="*/ 100 w 232"/>
              <a:gd name="T7" fmla="*/ 232 h 248"/>
              <a:gd name="T8" fmla="*/ 103 w 232"/>
              <a:gd name="T9" fmla="*/ 231 h 248"/>
              <a:gd name="T10" fmla="*/ 104 w 232"/>
              <a:gd name="T11" fmla="*/ 238 h 248"/>
              <a:gd name="T12" fmla="*/ 106 w 232"/>
              <a:gd name="T13" fmla="*/ 241 h 248"/>
              <a:gd name="T14" fmla="*/ 108 w 232"/>
              <a:gd name="T15" fmla="*/ 242 h 248"/>
              <a:gd name="T16" fmla="*/ 110 w 232"/>
              <a:gd name="T17" fmla="*/ 242 h 248"/>
              <a:gd name="T18" fmla="*/ 113 w 232"/>
              <a:gd name="T19" fmla="*/ 241 h 248"/>
              <a:gd name="T20" fmla="*/ 116 w 232"/>
              <a:gd name="T21" fmla="*/ 238 h 248"/>
              <a:gd name="T22" fmla="*/ 216 w 232"/>
              <a:gd name="T23" fmla="*/ 234 h 248"/>
              <a:gd name="T24" fmla="*/ 213 w 232"/>
              <a:gd name="T25" fmla="*/ 204 h 248"/>
              <a:gd name="T26" fmla="*/ 207 w 232"/>
              <a:gd name="T27" fmla="*/ 138 h 248"/>
              <a:gd name="T28" fmla="*/ 201 w 232"/>
              <a:gd name="T29" fmla="*/ 73 h 248"/>
              <a:gd name="T30" fmla="*/ 198 w 232"/>
              <a:gd name="T31" fmla="*/ 43 h 248"/>
              <a:gd name="T32" fmla="*/ 215 w 232"/>
              <a:gd name="T33" fmla="*/ 44 h 248"/>
              <a:gd name="T34" fmla="*/ 232 w 232"/>
              <a:gd name="T35" fmla="*/ 46 h 248"/>
              <a:gd name="T36" fmla="*/ 161 w 232"/>
              <a:gd name="T37" fmla="*/ 2 h 248"/>
              <a:gd name="T38" fmla="*/ 160 w 232"/>
              <a:gd name="T39" fmla="*/ 8 h 248"/>
              <a:gd name="T40" fmla="*/ 161 w 232"/>
              <a:gd name="T41" fmla="*/ 18 h 248"/>
              <a:gd name="T42" fmla="*/ 98 w 232"/>
              <a:gd name="T43" fmla="*/ 24 h 248"/>
              <a:gd name="T44" fmla="*/ 98 w 232"/>
              <a:gd name="T45" fmla="*/ 74 h 248"/>
              <a:gd name="T46" fmla="*/ 95 w 232"/>
              <a:gd name="T47" fmla="*/ 76 h 248"/>
              <a:gd name="T48" fmla="*/ 87 w 232"/>
              <a:gd name="T49" fmla="*/ 78 h 248"/>
              <a:gd name="T50" fmla="*/ 72 w 232"/>
              <a:gd name="T51" fmla="*/ 82 h 248"/>
              <a:gd name="T52" fmla="*/ 74 w 232"/>
              <a:gd name="T53" fmla="*/ 88 h 248"/>
              <a:gd name="T54" fmla="*/ 78 w 232"/>
              <a:gd name="T55" fmla="*/ 96 h 248"/>
              <a:gd name="T56" fmla="*/ 80 w 232"/>
              <a:gd name="T57" fmla="*/ 105 h 248"/>
              <a:gd name="T58" fmla="*/ 81 w 232"/>
              <a:gd name="T59" fmla="*/ 115 h 248"/>
              <a:gd name="T60" fmla="*/ 9 w 232"/>
              <a:gd name="T61" fmla="*/ 119 h 248"/>
              <a:gd name="T62" fmla="*/ 5 w 232"/>
              <a:gd name="T63" fmla="*/ 130 h 248"/>
              <a:gd name="T64" fmla="*/ 6 w 232"/>
              <a:gd name="T65" fmla="*/ 143 h 248"/>
              <a:gd name="T66" fmla="*/ 8 w 232"/>
              <a:gd name="T67" fmla="*/ 155 h 248"/>
              <a:gd name="T68" fmla="*/ 9 w 232"/>
              <a:gd name="T69" fmla="*/ 168 h 248"/>
              <a:gd name="T70" fmla="*/ 9 w 232"/>
              <a:gd name="T71" fmla="*/ 182 h 248"/>
              <a:gd name="T72" fmla="*/ 8 w 232"/>
              <a:gd name="T73" fmla="*/ 194 h 248"/>
              <a:gd name="T74" fmla="*/ 6 w 232"/>
              <a:gd name="T75" fmla="*/ 206 h 248"/>
              <a:gd name="T76" fmla="*/ 2 w 232"/>
              <a:gd name="T77" fmla="*/ 216 h 248"/>
              <a:gd name="T78" fmla="*/ 2 w 232"/>
              <a:gd name="T79" fmla="*/ 219 h 248"/>
              <a:gd name="T80" fmla="*/ 3 w 232"/>
              <a:gd name="T81" fmla="*/ 220 h 248"/>
              <a:gd name="T82" fmla="*/ 3 w 232"/>
              <a:gd name="T83" fmla="*/ 222 h 248"/>
              <a:gd name="T84" fmla="*/ 7 w 232"/>
              <a:gd name="T85" fmla="*/ 217 h 248"/>
              <a:gd name="T86" fmla="*/ 18 w 232"/>
              <a:gd name="T87" fmla="*/ 213 h 248"/>
              <a:gd name="T88" fmla="*/ 36 w 232"/>
              <a:gd name="T89" fmla="*/ 207 h 248"/>
              <a:gd name="T90" fmla="*/ 45 w 232"/>
              <a:gd name="T91" fmla="*/ 208 h 248"/>
              <a:gd name="T92" fmla="*/ 51 w 232"/>
              <a:gd name="T93" fmla="*/ 212 h 248"/>
              <a:gd name="T94" fmla="*/ 56 w 232"/>
              <a:gd name="T95" fmla="*/ 214 h 248"/>
              <a:gd name="T96" fmla="*/ 62 w 232"/>
              <a:gd name="T97" fmla="*/ 215 h 248"/>
              <a:gd name="T98" fmla="*/ 66 w 232"/>
              <a:gd name="T99" fmla="*/ 219 h 248"/>
              <a:gd name="T100" fmla="*/ 67 w 232"/>
              <a:gd name="T101" fmla="*/ 225 h 248"/>
              <a:gd name="T102" fmla="*/ 70 w 232"/>
              <a:gd name="T103" fmla="*/ 231 h 248"/>
              <a:gd name="T104" fmla="*/ 74 w 232"/>
              <a:gd name="T105" fmla="*/ 235 h 248"/>
              <a:gd name="T106" fmla="*/ 85 w 232"/>
              <a:gd name="T107" fmla="*/ 243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84" name="Freeform 236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>
              <a:gd name="T0" fmla="*/ 90 w 948"/>
              <a:gd name="T1" fmla="*/ 788 h 893"/>
              <a:gd name="T2" fmla="*/ 121 w 948"/>
              <a:gd name="T3" fmla="*/ 788 h 893"/>
              <a:gd name="T4" fmla="*/ 146 w 948"/>
              <a:gd name="T5" fmla="*/ 783 h 893"/>
              <a:gd name="T6" fmla="*/ 186 w 948"/>
              <a:gd name="T7" fmla="*/ 776 h 893"/>
              <a:gd name="T8" fmla="*/ 197 w 948"/>
              <a:gd name="T9" fmla="*/ 813 h 893"/>
              <a:gd name="T10" fmla="*/ 212 w 948"/>
              <a:gd name="T11" fmla="*/ 835 h 893"/>
              <a:gd name="T12" fmla="*/ 226 w 948"/>
              <a:gd name="T13" fmla="*/ 846 h 893"/>
              <a:gd name="T14" fmla="*/ 246 w 948"/>
              <a:gd name="T15" fmla="*/ 850 h 893"/>
              <a:gd name="T16" fmla="*/ 246 w 948"/>
              <a:gd name="T17" fmla="*/ 881 h 893"/>
              <a:gd name="T18" fmla="*/ 326 w 948"/>
              <a:gd name="T19" fmla="*/ 889 h 893"/>
              <a:gd name="T20" fmla="*/ 334 w 948"/>
              <a:gd name="T21" fmla="*/ 876 h 893"/>
              <a:gd name="T22" fmla="*/ 347 w 948"/>
              <a:gd name="T23" fmla="*/ 871 h 893"/>
              <a:gd name="T24" fmla="*/ 348 w 948"/>
              <a:gd name="T25" fmla="*/ 888 h 893"/>
              <a:gd name="T26" fmla="*/ 358 w 948"/>
              <a:gd name="T27" fmla="*/ 893 h 893"/>
              <a:gd name="T28" fmla="*/ 385 w 948"/>
              <a:gd name="T29" fmla="*/ 893 h 893"/>
              <a:gd name="T30" fmla="*/ 401 w 948"/>
              <a:gd name="T31" fmla="*/ 854 h 893"/>
              <a:gd name="T32" fmla="*/ 412 w 948"/>
              <a:gd name="T33" fmla="*/ 788 h 893"/>
              <a:gd name="T34" fmla="*/ 424 w 948"/>
              <a:gd name="T35" fmla="*/ 771 h 893"/>
              <a:gd name="T36" fmla="*/ 452 w 948"/>
              <a:gd name="T37" fmla="*/ 754 h 893"/>
              <a:gd name="T38" fmla="*/ 485 w 948"/>
              <a:gd name="T39" fmla="*/ 743 h 893"/>
              <a:gd name="T40" fmla="*/ 501 w 948"/>
              <a:gd name="T41" fmla="*/ 729 h 893"/>
              <a:gd name="T42" fmla="*/ 515 w 948"/>
              <a:gd name="T43" fmla="*/ 702 h 893"/>
              <a:gd name="T44" fmla="*/ 535 w 948"/>
              <a:gd name="T45" fmla="*/ 668 h 893"/>
              <a:gd name="T46" fmla="*/ 547 w 948"/>
              <a:gd name="T47" fmla="*/ 660 h 893"/>
              <a:gd name="T48" fmla="*/ 572 w 948"/>
              <a:gd name="T49" fmla="*/ 659 h 893"/>
              <a:gd name="T50" fmla="*/ 605 w 948"/>
              <a:gd name="T51" fmla="*/ 644 h 893"/>
              <a:gd name="T52" fmla="*/ 639 w 948"/>
              <a:gd name="T53" fmla="*/ 624 h 893"/>
              <a:gd name="T54" fmla="*/ 674 w 948"/>
              <a:gd name="T55" fmla="*/ 613 h 893"/>
              <a:gd name="T56" fmla="*/ 724 w 948"/>
              <a:gd name="T57" fmla="*/ 610 h 893"/>
              <a:gd name="T58" fmla="*/ 788 w 948"/>
              <a:gd name="T59" fmla="*/ 602 h 893"/>
              <a:gd name="T60" fmla="*/ 815 w 948"/>
              <a:gd name="T61" fmla="*/ 594 h 893"/>
              <a:gd name="T62" fmla="*/ 863 w 948"/>
              <a:gd name="T63" fmla="*/ 590 h 893"/>
              <a:gd name="T64" fmla="*/ 901 w 948"/>
              <a:gd name="T65" fmla="*/ 583 h 893"/>
              <a:gd name="T66" fmla="*/ 913 w 948"/>
              <a:gd name="T67" fmla="*/ 574 h 893"/>
              <a:gd name="T68" fmla="*/ 931 w 948"/>
              <a:gd name="T69" fmla="*/ 544 h 893"/>
              <a:gd name="T70" fmla="*/ 943 w 948"/>
              <a:gd name="T71" fmla="*/ 504 h 893"/>
              <a:gd name="T72" fmla="*/ 948 w 948"/>
              <a:gd name="T73" fmla="*/ 461 h 893"/>
              <a:gd name="T74" fmla="*/ 947 w 948"/>
              <a:gd name="T75" fmla="*/ 421 h 893"/>
              <a:gd name="T76" fmla="*/ 943 w 948"/>
              <a:gd name="T77" fmla="*/ 363 h 893"/>
              <a:gd name="T78" fmla="*/ 922 w 948"/>
              <a:gd name="T79" fmla="*/ 356 h 893"/>
              <a:gd name="T80" fmla="*/ 862 w 948"/>
              <a:gd name="T81" fmla="*/ 322 h 893"/>
              <a:gd name="T82" fmla="*/ 794 w 948"/>
              <a:gd name="T83" fmla="*/ 278 h 893"/>
              <a:gd name="T84" fmla="*/ 738 w 948"/>
              <a:gd name="T85" fmla="*/ 216 h 893"/>
              <a:gd name="T86" fmla="*/ 412 w 948"/>
              <a:gd name="T87" fmla="*/ 12 h 893"/>
              <a:gd name="T88" fmla="*/ 348 w 948"/>
              <a:gd name="T89" fmla="*/ 102 h 893"/>
              <a:gd name="T90" fmla="*/ 379 w 948"/>
              <a:gd name="T91" fmla="*/ 405 h 893"/>
              <a:gd name="T92" fmla="*/ 392 w 948"/>
              <a:gd name="T93" fmla="*/ 565 h 893"/>
              <a:gd name="T94" fmla="*/ 93 w 948"/>
              <a:gd name="T95" fmla="*/ 591 h 893"/>
              <a:gd name="T96" fmla="*/ 79 w 948"/>
              <a:gd name="T97" fmla="*/ 606 h 893"/>
              <a:gd name="T98" fmla="*/ 67 w 948"/>
              <a:gd name="T99" fmla="*/ 610 h 893"/>
              <a:gd name="T100" fmla="*/ 57 w 948"/>
              <a:gd name="T101" fmla="*/ 607 h 893"/>
              <a:gd name="T102" fmla="*/ 49 w 948"/>
              <a:gd name="T103" fmla="*/ 591 h 893"/>
              <a:gd name="T104" fmla="*/ 40 w 948"/>
              <a:gd name="T105" fmla="*/ 581 h 893"/>
              <a:gd name="T106" fmla="*/ 29 w 948"/>
              <a:gd name="T107" fmla="*/ 605 h 893"/>
              <a:gd name="T108" fmla="*/ 15 w 948"/>
              <a:gd name="T109" fmla="*/ 623 h 893"/>
              <a:gd name="T110" fmla="*/ 67 w 948"/>
              <a:gd name="T111" fmla="*/ 733 h 893"/>
              <a:gd name="T112" fmla="*/ 61 w 948"/>
              <a:gd name="T113" fmla="*/ 748 h 893"/>
              <a:gd name="T114" fmla="*/ 62 w 948"/>
              <a:gd name="T115" fmla="*/ 760 h 893"/>
              <a:gd name="T116" fmla="*/ 54 w 948"/>
              <a:gd name="T117" fmla="*/ 78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85" name="Freeform 237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>
              <a:gd name="T0" fmla="*/ 238 w 373"/>
              <a:gd name="T1" fmla="*/ 367 h 370"/>
              <a:gd name="T2" fmla="*/ 244 w 373"/>
              <a:gd name="T3" fmla="*/ 365 h 370"/>
              <a:gd name="T4" fmla="*/ 255 w 373"/>
              <a:gd name="T5" fmla="*/ 368 h 370"/>
              <a:gd name="T6" fmla="*/ 372 w 373"/>
              <a:gd name="T7" fmla="*/ 277 h 370"/>
              <a:gd name="T8" fmla="*/ 369 w 373"/>
              <a:gd name="T9" fmla="*/ 270 h 370"/>
              <a:gd name="T10" fmla="*/ 361 w 373"/>
              <a:gd name="T11" fmla="*/ 264 h 370"/>
              <a:gd name="T12" fmla="*/ 347 w 373"/>
              <a:gd name="T13" fmla="*/ 259 h 370"/>
              <a:gd name="T14" fmla="*/ 339 w 373"/>
              <a:gd name="T15" fmla="*/ 254 h 370"/>
              <a:gd name="T16" fmla="*/ 336 w 373"/>
              <a:gd name="T17" fmla="*/ 247 h 370"/>
              <a:gd name="T18" fmla="*/ 337 w 373"/>
              <a:gd name="T19" fmla="*/ 228 h 370"/>
              <a:gd name="T20" fmla="*/ 337 w 373"/>
              <a:gd name="T21" fmla="*/ 196 h 370"/>
              <a:gd name="T22" fmla="*/ 334 w 373"/>
              <a:gd name="T23" fmla="*/ 168 h 370"/>
              <a:gd name="T24" fmla="*/ 329 w 373"/>
              <a:gd name="T25" fmla="*/ 155 h 370"/>
              <a:gd name="T26" fmla="*/ 323 w 373"/>
              <a:gd name="T27" fmla="*/ 142 h 370"/>
              <a:gd name="T28" fmla="*/ 315 w 373"/>
              <a:gd name="T29" fmla="*/ 109 h 370"/>
              <a:gd name="T30" fmla="*/ 306 w 373"/>
              <a:gd name="T31" fmla="*/ 90 h 370"/>
              <a:gd name="T32" fmla="*/ 297 w 373"/>
              <a:gd name="T33" fmla="*/ 78 h 370"/>
              <a:gd name="T34" fmla="*/ 300 w 373"/>
              <a:gd name="T35" fmla="*/ 63 h 370"/>
              <a:gd name="T36" fmla="*/ 301 w 373"/>
              <a:gd name="T37" fmla="*/ 43 h 370"/>
              <a:gd name="T38" fmla="*/ 302 w 373"/>
              <a:gd name="T39" fmla="*/ 23 h 370"/>
              <a:gd name="T40" fmla="*/ 310 w 373"/>
              <a:gd name="T41" fmla="*/ 7 h 370"/>
              <a:gd name="T42" fmla="*/ 302 w 373"/>
              <a:gd name="T43" fmla="*/ 6 h 370"/>
              <a:gd name="T44" fmla="*/ 278 w 373"/>
              <a:gd name="T45" fmla="*/ 12 h 370"/>
              <a:gd name="T46" fmla="*/ 245 w 373"/>
              <a:gd name="T47" fmla="*/ 12 h 370"/>
              <a:gd name="T48" fmla="*/ 206 w 373"/>
              <a:gd name="T49" fmla="*/ 14 h 370"/>
              <a:gd name="T50" fmla="*/ 168 w 373"/>
              <a:gd name="T51" fmla="*/ 24 h 370"/>
              <a:gd name="T52" fmla="*/ 145 w 373"/>
              <a:gd name="T53" fmla="*/ 32 h 370"/>
              <a:gd name="T54" fmla="*/ 124 w 373"/>
              <a:gd name="T55" fmla="*/ 44 h 370"/>
              <a:gd name="T56" fmla="*/ 123 w 373"/>
              <a:gd name="T57" fmla="*/ 52 h 370"/>
              <a:gd name="T58" fmla="*/ 131 w 373"/>
              <a:gd name="T59" fmla="*/ 89 h 370"/>
              <a:gd name="T60" fmla="*/ 134 w 373"/>
              <a:gd name="T61" fmla="*/ 93 h 370"/>
              <a:gd name="T62" fmla="*/ 141 w 373"/>
              <a:gd name="T63" fmla="*/ 98 h 370"/>
              <a:gd name="T64" fmla="*/ 142 w 373"/>
              <a:gd name="T65" fmla="*/ 102 h 370"/>
              <a:gd name="T66" fmla="*/ 139 w 373"/>
              <a:gd name="T67" fmla="*/ 107 h 370"/>
              <a:gd name="T68" fmla="*/ 128 w 373"/>
              <a:gd name="T69" fmla="*/ 107 h 370"/>
              <a:gd name="T70" fmla="*/ 106 w 373"/>
              <a:gd name="T71" fmla="*/ 113 h 370"/>
              <a:gd name="T72" fmla="*/ 95 w 373"/>
              <a:gd name="T73" fmla="*/ 122 h 370"/>
              <a:gd name="T74" fmla="*/ 90 w 373"/>
              <a:gd name="T75" fmla="*/ 131 h 370"/>
              <a:gd name="T76" fmla="*/ 82 w 373"/>
              <a:gd name="T77" fmla="*/ 137 h 370"/>
              <a:gd name="T78" fmla="*/ 66 w 373"/>
              <a:gd name="T79" fmla="*/ 150 h 370"/>
              <a:gd name="T80" fmla="*/ 51 w 373"/>
              <a:gd name="T81" fmla="*/ 158 h 370"/>
              <a:gd name="T82" fmla="*/ 31 w 373"/>
              <a:gd name="T83" fmla="*/ 160 h 370"/>
              <a:gd name="T84" fmla="*/ 20 w 373"/>
              <a:gd name="T85" fmla="*/ 164 h 370"/>
              <a:gd name="T86" fmla="*/ 8 w 373"/>
              <a:gd name="T87" fmla="*/ 174 h 370"/>
              <a:gd name="T88" fmla="*/ 0 w 373"/>
              <a:gd name="T89" fmla="*/ 200 h 370"/>
              <a:gd name="T90" fmla="*/ 179 w 373"/>
              <a:gd name="T91" fmla="*/ 331 h 370"/>
              <a:gd name="T92" fmla="*/ 201 w 373"/>
              <a:gd name="T93" fmla="*/ 352 h 370"/>
              <a:gd name="T94" fmla="*/ 229 w 373"/>
              <a:gd name="T95" fmla="*/ 368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86" name="Freeform 238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>
              <a:gd name="T0" fmla="*/ 36 w 877"/>
              <a:gd name="T1" fmla="*/ 141 h 826"/>
              <a:gd name="T2" fmla="*/ 46 w 877"/>
              <a:gd name="T3" fmla="*/ 109 h 826"/>
              <a:gd name="T4" fmla="*/ 46 w 877"/>
              <a:gd name="T5" fmla="*/ 70 h 826"/>
              <a:gd name="T6" fmla="*/ 61 w 877"/>
              <a:gd name="T7" fmla="*/ 64 h 826"/>
              <a:gd name="T8" fmla="*/ 89 w 877"/>
              <a:gd name="T9" fmla="*/ 55 h 826"/>
              <a:gd name="T10" fmla="*/ 99 w 877"/>
              <a:gd name="T11" fmla="*/ 20 h 826"/>
              <a:gd name="T12" fmla="*/ 168 w 877"/>
              <a:gd name="T13" fmla="*/ 6 h 826"/>
              <a:gd name="T14" fmla="*/ 242 w 877"/>
              <a:gd name="T15" fmla="*/ 24 h 826"/>
              <a:gd name="T16" fmla="*/ 273 w 877"/>
              <a:gd name="T17" fmla="*/ 43 h 826"/>
              <a:gd name="T18" fmla="*/ 285 w 877"/>
              <a:gd name="T19" fmla="*/ 78 h 826"/>
              <a:gd name="T20" fmla="*/ 295 w 877"/>
              <a:gd name="T21" fmla="*/ 101 h 826"/>
              <a:gd name="T22" fmla="*/ 325 w 877"/>
              <a:gd name="T23" fmla="*/ 110 h 826"/>
              <a:gd name="T24" fmla="*/ 363 w 877"/>
              <a:gd name="T25" fmla="*/ 109 h 826"/>
              <a:gd name="T26" fmla="*/ 421 w 877"/>
              <a:gd name="T27" fmla="*/ 133 h 826"/>
              <a:gd name="T28" fmla="*/ 478 w 877"/>
              <a:gd name="T29" fmla="*/ 162 h 826"/>
              <a:gd name="T30" fmla="*/ 513 w 877"/>
              <a:gd name="T31" fmla="*/ 166 h 826"/>
              <a:gd name="T32" fmla="*/ 538 w 877"/>
              <a:gd name="T33" fmla="*/ 158 h 826"/>
              <a:gd name="T34" fmla="*/ 549 w 877"/>
              <a:gd name="T35" fmla="*/ 126 h 826"/>
              <a:gd name="T36" fmla="*/ 544 w 877"/>
              <a:gd name="T37" fmla="*/ 103 h 826"/>
              <a:gd name="T38" fmla="*/ 531 w 877"/>
              <a:gd name="T39" fmla="*/ 81 h 826"/>
              <a:gd name="T40" fmla="*/ 539 w 877"/>
              <a:gd name="T41" fmla="*/ 49 h 826"/>
              <a:gd name="T42" fmla="*/ 574 w 877"/>
              <a:gd name="T43" fmla="*/ 34 h 826"/>
              <a:gd name="T44" fmla="*/ 617 w 877"/>
              <a:gd name="T45" fmla="*/ 4 h 826"/>
              <a:gd name="T46" fmla="*/ 650 w 877"/>
              <a:gd name="T47" fmla="*/ 0 h 826"/>
              <a:gd name="T48" fmla="*/ 681 w 877"/>
              <a:gd name="T49" fmla="*/ 6 h 826"/>
              <a:gd name="T50" fmla="*/ 695 w 877"/>
              <a:gd name="T51" fmla="*/ 24 h 826"/>
              <a:gd name="T52" fmla="*/ 706 w 877"/>
              <a:gd name="T53" fmla="*/ 50 h 826"/>
              <a:gd name="T54" fmla="*/ 728 w 877"/>
              <a:gd name="T55" fmla="*/ 63 h 826"/>
              <a:gd name="T56" fmla="*/ 798 w 877"/>
              <a:gd name="T57" fmla="*/ 71 h 826"/>
              <a:gd name="T58" fmla="*/ 830 w 877"/>
              <a:gd name="T59" fmla="*/ 97 h 826"/>
              <a:gd name="T60" fmla="*/ 834 w 877"/>
              <a:gd name="T61" fmla="*/ 117 h 826"/>
              <a:gd name="T62" fmla="*/ 843 w 877"/>
              <a:gd name="T63" fmla="*/ 140 h 826"/>
              <a:gd name="T64" fmla="*/ 836 w 877"/>
              <a:gd name="T65" fmla="*/ 159 h 826"/>
              <a:gd name="T66" fmla="*/ 824 w 877"/>
              <a:gd name="T67" fmla="*/ 170 h 826"/>
              <a:gd name="T68" fmla="*/ 829 w 877"/>
              <a:gd name="T69" fmla="*/ 207 h 826"/>
              <a:gd name="T70" fmla="*/ 858 w 877"/>
              <a:gd name="T71" fmla="*/ 245 h 826"/>
              <a:gd name="T72" fmla="*/ 876 w 877"/>
              <a:gd name="T73" fmla="*/ 687 h 826"/>
              <a:gd name="T74" fmla="*/ 877 w 877"/>
              <a:gd name="T75" fmla="*/ 741 h 826"/>
              <a:gd name="T76" fmla="*/ 870 w 877"/>
              <a:gd name="T77" fmla="*/ 775 h 826"/>
              <a:gd name="T78" fmla="*/ 848 w 877"/>
              <a:gd name="T79" fmla="*/ 783 h 826"/>
              <a:gd name="T80" fmla="*/ 830 w 877"/>
              <a:gd name="T81" fmla="*/ 804 h 826"/>
              <a:gd name="T82" fmla="*/ 366 w 877"/>
              <a:gd name="T83" fmla="*/ 593 h 826"/>
              <a:gd name="T84" fmla="*/ 331 w 877"/>
              <a:gd name="T85" fmla="*/ 607 h 826"/>
              <a:gd name="T86" fmla="*/ 292 w 877"/>
              <a:gd name="T87" fmla="*/ 626 h 826"/>
              <a:gd name="T88" fmla="*/ 263 w 877"/>
              <a:gd name="T89" fmla="*/ 627 h 826"/>
              <a:gd name="T90" fmla="*/ 230 w 877"/>
              <a:gd name="T91" fmla="*/ 609 h 826"/>
              <a:gd name="T92" fmla="*/ 193 w 877"/>
              <a:gd name="T93" fmla="*/ 586 h 826"/>
              <a:gd name="T94" fmla="*/ 152 w 877"/>
              <a:gd name="T95" fmla="*/ 578 h 826"/>
              <a:gd name="T96" fmla="*/ 138 w 877"/>
              <a:gd name="T97" fmla="*/ 577 h 826"/>
              <a:gd name="T98" fmla="*/ 130 w 877"/>
              <a:gd name="T99" fmla="*/ 553 h 826"/>
              <a:gd name="T100" fmla="*/ 109 w 877"/>
              <a:gd name="T101" fmla="*/ 535 h 826"/>
              <a:gd name="T102" fmla="*/ 63 w 877"/>
              <a:gd name="T103" fmla="*/ 517 h 826"/>
              <a:gd name="T104" fmla="*/ 28 w 877"/>
              <a:gd name="T105" fmla="*/ 499 h 826"/>
              <a:gd name="T106" fmla="*/ 16 w 877"/>
              <a:gd name="T107" fmla="*/ 482 h 826"/>
              <a:gd name="T108" fmla="*/ 14 w 877"/>
              <a:gd name="T109" fmla="*/ 439 h 826"/>
              <a:gd name="T110" fmla="*/ 19 w 877"/>
              <a:gd name="T111" fmla="*/ 352 h 826"/>
              <a:gd name="T112" fmla="*/ 17 w 877"/>
              <a:gd name="T113" fmla="*/ 258 h 826"/>
              <a:gd name="T114" fmla="*/ 4 w 877"/>
              <a:gd name="T115" fmla="*/ 202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87" name="Freeform 239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>
              <a:gd name="T0" fmla="*/ 103 w 206"/>
              <a:gd name="T1" fmla="*/ 441 h 455"/>
              <a:gd name="T2" fmla="*/ 125 w 206"/>
              <a:gd name="T3" fmla="*/ 420 h 455"/>
              <a:gd name="T4" fmla="*/ 140 w 206"/>
              <a:gd name="T5" fmla="*/ 404 h 455"/>
              <a:gd name="T6" fmla="*/ 147 w 206"/>
              <a:gd name="T7" fmla="*/ 390 h 455"/>
              <a:gd name="T8" fmla="*/ 152 w 206"/>
              <a:gd name="T9" fmla="*/ 373 h 455"/>
              <a:gd name="T10" fmla="*/ 154 w 206"/>
              <a:gd name="T11" fmla="*/ 352 h 455"/>
              <a:gd name="T12" fmla="*/ 153 w 206"/>
              <a:gd name="T13" fmla="*/ 335 h 455"/>
              <a:gd name="T14" fmla="*/ 156 w 206"/>
              <a:gd name="T15" fmla="*/ 331 h 455"/>
              <a:gd name="T16" fmla="*/ 168 w 206"/>
              <a:gd name="T17" fmla="*/ 329 h 455"/>
              <a:gd name="T18" fmla="*/ 185 w 206"/>
              <a:gd name="T19" fmla="*/ 325 h 455"/>
              <a:gd name="T20" fmla="*/ 196 w 206"/>
              <a:gd name="T21" fmla="*/ 318 h 455"/>
              <a:gd name="T22" fmla="*/ 203 w 206"/>
              <a:gd name="T23" fmla="*/ 304 h 455"/>
              <a:gd name="T24" fmla="*/ 206 w 206"/>
              <a:gd name="T25" fmla="*/ 280 h 455"/>
              <a:gd name="T26" fmla="*/ 202 w 206"/>
              <a:gd name="T27" fmla="*/ 265 h 455"/>
              <a:gd name="T28" fmla="*/ 193 w 206"/>
              <a:gd name="T29" fmla="*/ 264 h 455"/>
              <a:gd name="T30" fmla="*/ 177 w 206"/>
              <a:gd name="T31" fmla="*/ 256 h 455"/>
              <a:gd name="T32" fmla="*/ 155 w 206"/>
              <a:gd name="T33" fmla="*/ 242 h 455"/>
              <a:gd name="T34" fmla="*/ 140 w 206"/>
              <a:gd name="T35" fmla="*/ 231 h 455"/>
              <a:gd name="T36" fmla="*/ 130 w 206"/>
              <a:gd name="T37" fmla="*/ 228 h 455"/>
              <a:gd name="T38" fmla="*/ 119 w 206"/>
              <a:gd name="T39" fmla="*/ 222 h 455"/>
              <a:gd name="T40" fmla="*/ 101 w 206"/>
              <a:gd name="T41" fmla="*/ 212 h 455"/>
              <a:gd name="T42" fmla="*/ 95 w 206"/>
              <a:gd name="T43" fmla="*/ 206 h 455"/>
              <a:gd name="T44" fmla="*/ 95 w 206"/>
              <a:gd name="T45" fmla="*/ 199 h 455"/>
              <a:gd name="T46" fmla="*/ 104 w 206"/>
              <a:gd name="T47" fmla="*/ 181 h 455"/>
              <a:gd name="T48" fmla="*/ 119 w 206"/>
              <a:gd name="T49" fmla="*/ 158 h 455"/>
              <a:gd name="T50" fmla="*/ 134 w 206"/>
              <a:gd name="T51" fmla="*/ 140 h 455"/>
              <a:gd name="T52" fmla="*/ 136 w 206"/>
              <a:gd name="T53" fmla="*/ 129 h 455"/>
              <a:gd name="T54" fmla="*/ 126 w 206"/>
              <a:gd name="T55" fmla="*/ 116 h 455"/>
              <a:gd name="T56" fmla="*/ 115 w 206"/>
              <a:gd name="T57" fmla="*/ 105 h 455"/>
              <a:gd name="T58" fmla="*/ 108 w 206"/>
              <a:gd name="T59" fmla="*/ 93 h 455"/>
              <a:gd name="T60" fmla="*/ 107 w 206"/>
              <a:gd name="T61" fmla="*/ 84 h 455"/>
              <a:gd name="T62" fmla="*/ 111 w 206"/>
              <a:gd name="T63" fmla="*/ 78 h 455"/>
              <a:gd name="T64" fmla="*/ 116 w 206"/>
              <a:gd name="T65" fmla="*/ 72 h 455"/>
              <a:gd name="T66" fmla="*/ 123 w 206"/>
              <a:gd name="T67" fmla="*/ 69 h 455"/>
              <a:gd name="T68" fmla="*/ 126 w 206"/>
              <a:gd name="T69" fmla="*/ 37 h 455"/>
              <a:gd name="T70" fmla="*/ 110 w 206"/>
              <a:gd name="T71" fmla="*/ 32 h 455"/>
              <a:gd name="T72" fmla="*/ 87 w 206"/>
              <a:gd name="T73" fmla="*/ 21 h 455"/>
              <a:gd name="T74" fmla="*/ 53 w 206"/>
              <a:gd name="T75" fmla="*/ 0 h 455"/>
              <a:gd name="T76" fmla="*/ 47 w 206"/>
              <a:gd name="T77" fmla="*/ 11 h 455"/>
              <a:gd name="T78" fmla="*/ 34 w 206"/>
              <a:gd name="T79" fmla="*/ 44 h 455"/>
              <a:gd name="T80" fmla="*/ 28 w 206"/>
              <a:gd name="T81" fmla="*/ 70 h 455"/>
              <a:gd name="T82" fmla="*/ 22 w 206"/>
              <a:gd name="T83" fmla="*/ 99 h 455"/>
              <a:gd name="T84" fmla="*/ 20 w 206"/>
              <a:gd name="T85" fmla="*/ 133 h 455"/>
              <a:gd name="T86" fmla="*/ 20 w 206"/>
              <a:gd name="T87" fmla="*/ 172 h 455"/>
              <a:gd name="T88" fmla="*/ 12 w 206"/>
              <a:gd name="T89" fmla="*/ 188 h 455"/>
              <a:gd name="T90" fmla="*/ 8 w 206"/>
              <a:gd name="T91" fmla="*/ 206 h 455"/>
              <a:gd name="T92" fmla="*/ 0 w 206"/>
              <a:gd name="T93" fmla="*/ 235 h 455"/>
              <a:gd name="T94" fmla="*/ 22 w 206"/>
              <a:gd name="T95" fmla="*/ 259 h 455"/>
              <a:gd name="T96" fmla="*/ 41 w 206"/>
              <a:gd name="T97" fmla="*/ 281 h 455"/>
              <a:gd name="T98" fmla="*/ 55 w 206"/>
              <a:gd name="T99" fmla="*/ 305 h 455"/>
              <a:gd name="T100" fmla="*/ 66 w 206"/>
              <a:gd name="T101" fmla="*/ 329 h 455"/>
              <a:gd name="T102" fmla="*/ 75 w 206"/>
              <a:gd name="T103" fmla="*/ 355 h 455"/>
              <a:gd name="T104" fmla="*/ 82 w 206"/>
              <a:gd name="T105" fmla="*/ 384 h 455"/>
              <a:gd name="T106" fmla="*/ 93 w 206"/>
              <a:gd name="T107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88" name="Freeform 240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>
              <a:gd name="T0" fmla="*/ 326 w 518"/>
              <a:gd name="T1" fmla="*/ 110 h 406"/>
              <a:gd name="T2" fmla="*/ 326 w 518"/>
              <a:gd name="T3" fmla="*/ 259 h 406"/>
              <a:gd name="T4" fmla="*/ 315 w 518"/>
              <a:gd name="T5" fmla="*/ 264 h 406"/>
              <a:gd name="T6" fmla="*/ 291 w 518"/>
              <a:gd name="T7" fmla="*/ 271 h 406"/>
              <a:gd name="T8" fmla="*/ 246 w 518"/>
              <a:gd name="T9" fmla="*/ 283 h 406"/>
              <a:gd name="T10" fmla="*/ 253 w 518"/>
              <a:gd name="T11" fmla="*/ 302 h 406"/>
              <a:gd name="T12" fmla="*/ 265 w 518"/>
              <a:gd name="T13" fmla="*/ 326 h 406"/>
              <a:gd name="T14" fmla="*/ 269 w 518"/>
              <a:gd name="T15" fmla="*/ 353 h 406"/>
              <a:gd name="T16" fmla="*/ 272 w 518"/>
              <a:gd name="T17" fmla="*/ 382 h 406"/>
              <a:gd name="T18" fmla="*/ 52 w 518"/>
              <a:gd name="T19" fmla="*/ 394 h 406"/>
              <a:gd name="T20" fmla="*/ 22 w 518"/>
              <a:gd name="T21" fmla="*/ 406 h 406"/>
              <a:gd name="T22" fmla="*/ 5 w 518"/>
              <a:gd name="T23" fmla="*/ 403 h 406"/>
              <a:gd name="T24" fmla="*/ 1 w 518"/>
              <a:gd name="T25" fmla="*/ 398 h 406"/>
              <a:gd name="T26" fmla="*/ 1 w 518"/>
              <a:gd name="T27" fmla="*/ 385 h 406"/>
              <a:gd name="T28" fmla="*/ 4 w 518"/>
              <a:gd name="T29" fmla="*/ 371 h 406"/>
              <a:gd name="T30" fmla="*/ 11 w 518"/>
              <a:gd name="T31" fmla="*/ 354 h 406"/>
              <a:gd name="T32" fmla="*/ 20 w 518"/>
              <a:gd name="T33" fmla="*/ 341 h 406"/>
              <a:gd name="T34" fmla="*/ 30 w 518"/>
              <a:gd name="T35" fmla="*/ 334 h 406"/>
              <a:gd name="T36" fmla="*/ 38 w 518"/>
              <a:gd name="T37" fmla="*/ 326 h 406"/>
              <a:gd name="T38" fmla="*/ 44 w 518"/>
              <a:gd name="T39" fmla="*/ 317 h 406"/>
              <a:gd name="T40" fmla="*/ 49 w 518"/>
              <a:gd name="T41" fmla="*/ 292 h 406"/>
              <a:gd name="T42" fmla="*/ 56 w 518"/>
              <a:gd name="T43" fmla="*/ 265 h 406"/>
              <a:gd name="T44" fmla="*/ 62 w 518"/>
              <a:gd name="T45" fmla="*/ 257 h 406"/>
              <a:gd name="T46" fmla="*/ 74 w 518"/>
              <a:gd name="T47" fmla="*/ 246 h 406"/>
              <a:gd name="T48" fmla="*/ 92 w 518"/>
              <a:gd name="T49" fmla="*/ 238 h 406"/>
              <a:gd name="T50" fmla="*/ 107 w 518"/>
              <a:gd name="T51" fmla="*/ 231 h 406"/>
              <a:gd name="T52" fmla="*/ 122 w 518"/>
              <a:gd name="T53" fmla="*/ 218 h 406"/>
              <a:gd name="T54" fmla="*/ 136 w 518"/>
              <a:gd name="T55" fmla="*/ 195 h 406"/>
              <a:gd name="T56" fmla="*/ 150 w 518"/>
              <a:gd name="T57" fmla="*/ 156 h 406"/>
              <a:gd name="T58" fmla="*/ 162 w 518"/>
              <a:gd name="T59" fmla="*/ 117 h 406"/>
              <a:gd name="T60" fmla="*/ 172 w 518"/>
              <a:gd name="T61" fmla="*/ 94 h 406"/>
              <a:gd name="T62" fmla="*/ 186 w 518"/>
              <a:gd name="T63" fmla="*/ 73 h 406"/>
              <a:gd name="T64" fmla="*/ 201 w 518"/>
              <a:gd name="T65" fmla="*/ 62 h 406"/>
              <a:gd name="T66" fmla="*/ 213 w 518"/>
              <a:gd name="T67" fmla="*/ 57 h 406"/>
              <a:gd name="T68" fmla="*/ 219 w 518"/>
              <a:gd name="T69" fmla="*/ 44 h 406"/>
              <a:gd name="T70" fmla="*/ 223 w 518"/>
              <a:gd name="T71" fmla="*/ 28 h 406"/>
              <a:gd name="T72" fmla="*/ 228 w 518"/>
              <a:gd name="T73" fmla="*/ 16 h 406"/>
              <a:gd name="T74" fmla="*/ 239 w 518"/>
              <a:gd name="T75" fmla="*/ 8 h 406"/>
              <a:gd name="T76" fmla="*/ 511 w 518"/>
              <a:gd name="T77" fmla="*/ 0 h 406"/>
              <a:gd name="T78" fmla="*/ 515 w 518"/>
              <a:gd name="T79" fmla="*/ 46 h 406"/>
              <a:gd name="T80" fmla="*/ 518 w 518"/>
              <a:gd name="T81" fmla="*/ 110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89" name="Freeform 241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>
              <a:gd name="T0" fmla="*/ 34 w 446"/>
              <a:gd name="T1" fmla="*/ 61 h 178"/>
              <a:gd name="T2" fmla="*/ 41 w 446"/>
              <a:gd name="T3" fmla="*/ 42 h 178"/>
              <a:gd name="T4" fmla="*/ 68 w 446"/>
              <a:gd name="T5" fmla="*/ 37 h 178"/>
              <a:gd name="T6" fmla="*/ 80 w 446"/>
              <a:gd name="T7" fmla="*/ 18 h 178"/>
              <a:gd name="T8" fmla="*/ 72 w 446"/>
              <a:gd name="T9" fmla="*/ 14 h 178"/>
              <a:gd name="T10" fmla="*/ 60 w 446"/>
              <a:gd name="T11" fmla="*/ 0 h 178"/>
              <a:gd name="T12" fmla="*/ 85 w 446"/>
              <a:gd name="T13" fmla="*/ 10 h 178"/>
              <a:gd name="T14" fmla="*/ 108 w 446"/>
              <a:gd name="T15" fmla="*/ 39 h 178"/>
              <a:gd name="T16" fmla="*/ 125 w 446"/>
              <a:gd name="T17" fmla="*/ 62 h 178"/>
              <a:gd name="T18" fmla="*/ 139 w 446"/>
              <a:gd name="T19" fmla="*/ 67 h 178"/>
              <a:gd name="T20" fmla="*/ 157 w 446"/>
              <a:gd name="T21" fmla="*/ 63 h 178"/>
              <a:gd name="T22" fmla="*/ 181 w 446"/>
              <a:gd name="T23" fmla="*/ 45 h 178"/>
              <a:gd name="T24" fmla="*/ 205 w 446"/>
              <a:gd name="T25" fmla="*/ 23 h 178"/>
              <a:gd name="T26" fmla="*/ 220 w 446"/>
              <a:gd name="T27" fmla="*/ 31 h 178"/>
              <a:gd name="T28" fmla="*/ 359 w 446"/>
              <a:gd name="T29" fmla="*/ 11 h 178"/>
              <a:gd name="T30" fmla="*/ 376 w 446"/>
              <a:gd name="T31" fmla="*/ 23 h 178"/>
              <a:gd name="T32" fmla="*/ 396 w 446"/>
              <a:gd name="T33" fmla="*/ 22 h 178"/>
              <a:gd name="T34" fmla="*/ 413 w 446"/>
              <a:gd name="T35" fmla="*/ 37 h 178"/>
              <a:gd name="T36" fmla="*/ 415 w 446"/>
              <a:gd name="T37" fmla="*/ 43 h 178"/>
              <a:gd name="T38" fmla="*/ 429 w 446"/>
              <a:gd name="T39" fmla="*/ 54 h 178"/>
              <a:gd name="T40" fmla="*/ 443 w 446"/>
              <a:gd name="T41" fmla="*/ 68 h 178"/>
              <a:gd name="T42" fmla="*/ 446 w 446"/>
              <a:gd name="T43" fmla="*/ 80 h 178"/>
              <a:gd name="T44" fmla="*/ 438 w 446"/>
              <a:gd name="T45" fmla="*/ 96 h 178"/>
              <a:gd name="T46" fmla="*/ 413 w 446"/>
              <a:gd name="T47" fmla="*/ 111 h 178"/>
              <a:gd name="T48" fmla="*/ 397 w 446"/>
              <a:gd name="T49" fmla="*/ 120 h 178"/>
              <a:gd name="T50" fmla="*/ 366 w 446"/>
              <a:gd name="T51" fmla="*/ 123 h 178"/>
              <a:gd name="T52" fmla="*/ 300 w 446"/>
              <a:gd name="T53" fmla="*/ 146 h 178"/>
              <a:gd name="T54" fmla="*/ 234 w 446"/>
              <a:gd name="T55" fmla="*/ 171 h 178"/>
              <a:gd name="T56" fmla="*/ 199 w 446"/>
              <a:gd name="T57" fmla="*/ 178 h 178"/>
              <a:gd name="T58" fmla="*/ 177 w 446"/>
              <a:gd name="T59" fmla="*/ 174 h 178"/>
              <a:gd name="T60" fmla="*/ 172 w 446"/>
              <a:gd name="T61" fmla="*/ 164 h 178"/>
              <a:gd name="T62" fmla="*/ 170 w 446"/>
              <a:gd name="T63" fmla="*/ 161 h 178"/>
              <a:gd name="T64" fmla="*/ 156 w 446"/>
              <a:gd name="T65" fmla="*/ 161 h 178"/>
              <a:gd name="T66" fmla="*/ 139 w 446"/>
              <a:gd name="T67" fmla="*/ 160 h 178"/>
              <a:gd name="T68" fmla="*/ 100 w 446"/>
              <a:gd name="T69" fmla="*/ 147 h 178"/>
              <a:gd name="T70" fmla="*/ 85 w 446"/>
              <a:gd name="T71" fmla="*/ 137 h 178"/>
              <a:gd name="T72" fmla="*/ 81 w 446"/>
              <a:gd name="T73" fmla="*/ 125 h 178"/>
              <a:gd name="T74" fmla="*/ 87 w 446"/>
              <a:gd name="T75" fmla="*/ 111 h 178"/>
              <a:gd name="T76" fmla="*/ 27 w 446"/>
              <a:gd name="T77" fmla="*/ 103 h 178"/>
              <a:gd name="T78" fmla="*/ 9 w 446"/>
              <a:gd name="T79" fmla="*/ 105 h 178"/>
              <a:gd name="T80" fmla="*/ 0 w 446"/>
              <a:gd name="T81" fmla="*/ 80 h 178"/>
              <a:gd name="T82" fmla="*/ 60 w 446"/>
              <a:gd name="T83" fmla="*/ 86 h 178"/>
              <a:gd name="T84" fmla="*/ 87 w 446"/>
              <a:gd name="T85" fmla="*/ 80 h 178"/>
              <a:gd name="T86" fmla="*/ 23 w 446"/>
              <a:gd name="T87" fmla="*/ 68 h 178"/>
              <a:gd name="T88" fmla="*/ 16 w 446"/>
              <a:gd name="T89" fmla="*/ 55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90" name="Freeform 242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>
              <a:gd name="T0" fmla="*/ 0 w 28"/>
              <a:gd name="T1" fmla="*/ 73 h 73"/>
              <a:gd name="T2" fmla="*/ 2 w 28"/>
              <a:gd name="T3" fmla="*/ 47 h 73"/>
              <a:gd name="T4" fmla="*/ 6 w 28"/>
              <a:gd name="T5" fmla="*/ 28 h 73"/>
              <a:gd name="T6" fmla="*/ 7 w 28"/>
              <a:gd name="T7" fmla="*/ 20 h 73"/>
              <a:gd name="T8" fmla="*/ 6 w 28"/>
              <a:gd name="T9" fmla="*/ 13 h 73"/>
              <a:gd name="T10" fmla="*/ 4 w 28"/>
              <a:gd name="T11" fmla="*/ 7 h 73"/>
              <a:gd name="T12" fmla="*/ 0 w 28"/>
              <a:gd name="T13" fmla="*/ 0 h 73"/>
              <a:gd name="T14" fmla="*/ 28 w 28"/>
              <a:gd name="T15" fmla="*/ 0 h 73"/>
              <a:gd name="T16" fmla="*/ 22 w 28"/>
              <a:gd name="T17" fmla="*/ 16 h 73"/>
              <a:gd name="T18" fmla="*/ 17 w 28"/>
              <a:gd name="T19" fmla="*/ 30 h 73"/>
              <a:gd name="T20" fmla="*/ 12 w 28"/>
              <a:gd name="T21" fmla="*/ 43 h 73"/>
              <a:gd name="T22" fmla="*/ 7 w 28"/>
              <a:gd name="T23" fmla="*/ 55 h 73"/>
              <a:gd name="T24" fmla="*/ 0 w 28"/>
              <a:gd name="T25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91" name="Freeform 243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>
              <a:gd name="T0" fmla="*/ 419 w 531"/>
              <a:gd name="T1" fmla="*/ 203 h 757"/>
              <a:gd name="T2" fmla="*/ 406 w 531"/>
              <a:gd name="T3" fmla="*/ 221 h 757"/>
              <a:gd name="T4" fmla="*/ 404 w 531"/>
              <a:gd name="T5" fmla="*/ 237 h 757"/>
              <a:gd name="T6" fmla="*/ 382 w 531"/>
              <a:gd name="T7" fmla="*/ 275 h 757"/>
              <a:gd name="T8" fmla="*/ 325 w 531"/>
              <a:gd name="T9" fmla="*/ 306 h 757"/>
              <a:gd name="T10" fmla="*/ 252 w 531"/>
              <a:gd name="T11" fmla="*/ 354 h 757"/>
              <a:gd name="T12" fmla="*/ 237 w 531"/>
              <a:gd name="T13" fmla="*/ 369 h 757"/>
              <a:gd name="T14" fmla="*/ 245 w 531"/>
              <a:gd name="T15" fmla="*/ 381 h 757"/>
              <a:gd name="T16" fmla="*/ 240 w 531"/>
              <a:gd name="T17" fmla="*/ 424 h 757"/>
              <a:gd name="T18" fmla="*/ 239 w 531"/>
              <a:gd name="T19" fmla="*/ 449 h 757"/>
              <a:gd name="T20" fmla="*/ 262 w 531"/>
              <a:gd name="T21" fmla="*/ 468 h 757"/>
              <a:gd name="T22" fmla="*/ 320 w 531"/>
              <a:gd name="T23" fmla="*/ 485 h 757"/>
              <a:gd name="T24" fmla="*/ 332 w 531"/>
              <a:gd name="T25" fmla="*/ 505 h 757"/>
              <a:gd name="T26" fmla="*/ 310 w 531"/>
              <a:gd name="T27" fmla="*/ 531 h 757"/>
              <a:gd name="T28" fmla="*/ 272 w 531"/>
              <a:gd name="T29" fmla="*/ 547 h 757"/>
              <a:gd name="T30" fmla="*/ 265 w 531"/>
              <a:gd name="T31" fmla="*/ 560 h 757"/>
              <a:gd name="T32" fmla="*/ 252 w 531"/>
              <a:gd name="T33" fmla="*/ 631 h 757"/>
              <a:gd name="T34" fmla="*/ 239 w 531"/>
              <a:gd name="T35" fmla="*/ 721 h 757"/>
              <a:gd name="T36" fmla="*/ 173 w 531"/>
              <a:gd name="T37" fmla="*/ 727 h 757"/>
              <a:gd name="T38" fmla="*/ 152 w 531"/>
              <a:gd name="T39" fmla="*/ 738 h 757"/>
              <a:gd name="T40" fmla="*/ 153 w 531"/>
              <a:gd name="T41" fmla="*/ 757 h 757"/>
              <a:gd name="T42" fmla="*/ 106 w 531"/>
              <a:gd name="T43" fmla="*/ 757 h 757"/>
              <a:gd name="T44" fmla="*/ 95 w 531"/>
              <a:gd name="T45" fmla="*/ 752 h 757"/>
              <a:gd name="T46" fmla="*/ 71 w 531"/>
              <a:gd name="T47" fmla="*/ 718 h 757"/>
              <a:gd name="T48" fmla="*/ 41 w 531"/>
              <a:gd name="T49" fmla="*/ 640 h 757"/>
              <a:gd name="T50" fmla="*/ 34 w 531"/>
              <a:gd name="T51" fmla="*/ 597 h 757"/>
              <a:gd name="T52" fmla="*/ 14 w 531"/>
              <a:gd name="T53" fmla="*/ 586 h 757"/>
              <a:gd name="T54" fmla="*/ 19 w 531"/>
              <a:gd name="T55" fmla="*/ 561 h 757"/>
              <a:gd name="T56" fmla="*/ 36 w 531"/>
              <a:gd name="T57" fmla="*/ 538 h 757"/>
              <a:gd name="T58" fmla="*/ 53 w 531"/>
              <a:gd name="T59" fmla="*/ 504 h 757"/>
              <a:gd name="T60" fmla="*/ 61 w 531"/>
              <a:gd name="T61" fmla="*/ 471 h 757"/>
              <a:gd name="T62" fmla="*/ 64 w 531"/>
              <a:gd name="T63" fmla="*/ 441 h 757"/>
              <a:gd name="T64" fmla="*/ 58 w 531"/>
              <a:gd name="T65" fmla="*/ 408 h 757"/>
              <a:gd name="T66" fmla="*/ 43 w 531"/>
              <a:gd name="T67" fmla="*/ 377 h 757"/>
              <a:gd name="T68" fmla="*/ 74 w 531"/>
              <a:gd name="T69" fmla="*/ 276 h 757"/>
              <a:gd name="T70" fmla="*/ 103 w 531"/>
              <a:gd name="T71" fmla="*/ 275 h 757"/>
              <a:gd name="T72" fmla="*/ 113 w 531"/>
              <a:gd name="T73" fmla="*/ 234 h 757"/>
              <a:gd name="T74" fmla="*/ 137 w 531"/>
              <a:gd name="T75" fmla="*/ 192 h 757"/>
              <a:gd name="T76" fmla="*/ 180 w 531"/>
              <a:gd name="T77" fmla="*/ 145 h 757"/>
              <a:gd name="T78" fmla="*/ 198 w 531"/>
              <a:gd name="T79" fmla="*/ 111 h 757"/>
              <a:gd name="T80" fmla="*/ 228 w 531"/>
              <a:gd name="T81" fmla="*/ 60 h 757"/>
              <a:gd name="T82" fmla="*/ 249 w 531"/>
              <a:gd name="T83" fmla="*/ 43 h 757"/>
              <a:gd name="T84" fmla="*/ 309 w 531"/>
              <a:gd name="T85" fmla="*/ 29 h 757"/>
              <a:gd name="T86" fmla="*/ 368 w 531"/>
              <a:gd name="T87" fmla="*/ 13 h 757"/>
              <a:gd name="T88" fmla="*/ 401 w 531"/>
              <a:gd name="T89" fmla="*/ 5 h 757"/>
              <a:gd name="T90" fmla="*/ 431 w 531"/>
              <a:gd name="T91" fmla="*/ 32 h 757"/>
              <a:gd name="T92" fmla="*/ 457 w 531"/>
              <a:gd name="T93" fmla="*/ 42 h 757"/>
              <a:gd name="T94" fmla="*/ 513 w 531"/>
              <a:gd name="T95" fmla="*/ 111 h 757"/>
              <a:gd name="T96" fmla="*/ 528 w 531"/>
              <a:gd name="T97" fmla="*/ 15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92" name="Freeform 244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>
              <a:gd name="T0" fmla="*/ 0 w 60"/>
              <a:gd name="T1" fmla="*/ 37 h 51"/>
              <a:gd name="T2" fmla="*/ 6 w 60"/>
              <a:gd name="T3" fmla="*/ 30 h 51"/>
              <a:gd name="T4" fmla="*/ 15 w 60"/>
              <a:gd name="T5" fmla="*/ 19 h 51"/>
              <a:gd name="T6" fmla="*/ 20 w 60"/>
              <a:gd name="T7" fmla="*/ 13 h 51"/>
              <a:gd name="T8" fmla="*/ 27 w 60"/>
              <a:gd name="T9" fmla="*/ 8 h 51"/>
              <a:gd name="T10" fmla="*/ 33 w 60"/>
              <a:gd name="T11" fmla="*/ 4 h 51"/>
              <a:gd name="T12" fmla="*/ 40 w 60"/>
              <a:gd name="T13" fmla="*/ 0 h 51"/>
              <a:gd name="T14" fmla="*/ 50 w 60"/>
              <a:gd name="T15" fmla="*/ 7 h 51"/>
              <a:gd name="T16" fmla="*/ 60 w 60"/>
              <a:gd name="T17" fmla="*/ 13 h 51"/>
              <a:gd name="T18" fmla="*/ 59 w 60"/>
              <a:gd name="T19" fmla="*/ 20 h 51"/>
              <a:gd name="T20" fmla="*/ 56 w 60"/>
              <a:gd name="T21" fmla="*/ 29 h 51"/>
              <a:gd name="T22" fmla="*/ 54 w 60"/>
              <a:gd name="T23" fmla="*/ 34 h 51"/>
              <a:gd name="T24" fmla="*/ 52 w 60"/>
              <a:gd name="T25" fmla="*/ 38 h 51"/>
              <a:gd name="T26" fmla="*/ 49 w 60"/>
              <a:gd name="T27" fmla="*/ 42 h 51"/>
              <a:gd name="T28" fmla="*/ 45 w 60"/>
              <a:gd name="T29" fmla="*/ 45 h 51"/>
              <a:gd name="T30" fmla="*/ 41 w 60"/>
              <a:gd name="T31" fmla="*/ 48 h 51"/>
              <a:gd name="T32" fmla="*/ 37 w 60"/>
              <a:gd name="T33" fmla="*/ 50 h 51"/>
              <a:gd name="T34" fmla="*/ 31 w 60"/>
              <a:gd name="T35" fmla="*/ 51 h 51"/>
              <a:gd name="T36" fmla="*/ 27 w 60"/>
              <a:gd name="T37" fmla="*/ 51 h 51"/>
              <a:gd name="T38" fmla="*/ 20 w 60"/>
              <a:gd name="T39" fmla="*/ 50 h 51"/>
              <a:gd name="T40" fmla="*/ 15 w 60"/>
              <a:gd name="T41" fmla="*/ 47 h 51"/>
              <a:gd name="T42" fmla="*/ 7 w 60"/>
              <a:gd name="T43" fmla="*/ 43 h 51"/>
              <a:gd name="T44" fmla="*/ 0 w 60"/>
              <a:gd name="T45" fmla="*/ 3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93" name="Freeform 245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>
              <a:gd name="T0" fmla="*/ 59 w 66"/>
              <a:gd name="T1" fmla="*/ 48 h 51"/>
              <a:gd name="T2" fmla="*/ 42 w 66"/>
              <a:gd name="T3" fmla="*/ 50 h 51"/>
              <a:gd name="T4" fmla="*/ 22 w 66"/>
              <a:gd name="T5" fmla="*/ 51 h 51"/>
              <a:gd name="T6" fmla="*/ 17 w 66"/>
              <a:gd name="T7" fmla="*/ 50 h 51"/>
              <a:gd name="T8" fmla="*/ 13 w 66"/>
              <a:gd name="T9" fmla="*/ 49 h 51"/>
              <a:gd name="T10" fmla="*/ 10 w 66"/>
              <a:gd name="T11" fmla="*/ 48 h 51"/>
              <a:gd name="T12" fmla="*/ 7 w 66"/>
              <a:gd name="T13" fmla="*/ 46 h 51"/>
              <a:gd name="T14" fmla="*/ 3 w 66"/>
              <a:gd name="T15" fmla="*/ 43 h 51"/>
              <a:gd name="T16" fmla="*/ 1 w 66"/>
              <a:gd name="T17" fmla="*/ 40 h 51"/>
              <a:gd name="T18" fmla="*/ 0 w 66"/>
              <a:gd name="T19" fmla="*/ 35 h 51"/>
              <a:gd name="T20" fmla="*/ 0 w 66"/>
              <a:gd name="T21" fmla="*/ 30 h 51"/>
              <a:gd name="T22" fmla="*/ 4 w 66"/>
              <a:gd name="T23" fmla="*/ 29 h 51"/>
              <a:gd name="T24" fmla="*/ 10 w 66"/>
              <a:gd name="T25" fmla="*/ 27 h 51"/>
              <a:gd name="T26" fmla="*/ 14 w 66"/>
              <a:gd name="T27" fmla="*/ 24 h 51"/>
              <a:gd name="T28" fmla="*/ 19 w 66"/>
              <a:gd name="T29" fmla="*/ 20 h 51"/>
              <a:gd name="T30" fmla="*/ 26 w 66"/>
              <a:gd name="T31" fmla="*/ 10 h 51"/>
              <a:gd name="T32" fmla="*/ 33 w 66"/>
              <a:gd name="T33" fmla="*/ 0 h 51"/>
              <a:gd name="T34" fmla="*/ 46 w 66"/>
              <a:gd name="T35" fmla="*/ 1 h 51"/>
              <a:gd name="T36" fmla="*/ 52 w 66"/>
              <a:gd name="T37" fmla="*/ 2 h 51"/>
              <a:gd name="T38" fmla="*/ 56 w 66"/>
              <a:gd name="T39" fmla="*/ 3 h 51"/>
              <a:gd name="T40" fmla="*/ 66 w 66"/>
              <a:gd name="T41" fmla="*/ 0 h 51"/>
              <a:gd name="T42" fmla="*/ 65 w 66"/>
              <a:gd name="T43" fmla="*/ 13 h 51"/>
              <a:gd name="T44" fmla="*/ 63 w 66"/>
              <a:gd name="T45" fmla="*/ 24 h 51"/>
              <a:gd name="T46" fmla="*/ 60 w 66"/>
              <a:gd name="T47" fmla="*/ 36 h 51"/>
              <a:gd name="T48" fmla="*/ 59 w 66"/>
              <a:gd name="T49" fmla="*/ 4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94" name="Freeform 246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>
              <a:gd name="T0" fmla="*/ 0 w 113"/>
              <a:gd name="T1" fmla="*/ 44 h 74"/>
              <a:gd name="T2" fmla="*/ 20 w 113"/>
              <a:gd name="T3" fmla="*/ 74 h 74"/>
              <a:gd name="T4" fmla="*/ 37 w 113"/>
              <a:gd name="T5" fmla="*/ 69 h 74"/>
              <a:gd name="T6" fmla="*/ 51 w 113"/>
              <a:gd name="T7" fmla="*/ 65 h 74"/>
              <a:gd name="T8" fmla="*/ 64 w 113"/>
              <a:gd name="T9" fmla="*/ 59 h 74"/>
              <a:gd name="T10" fmla="*/ 74 w 113"/>
              <a:gd name="T11" fmla="*/ 53 h 74"/>
              <a:gd name="T12" fmla="*/ 78 w 113"/>
              <a:gd name="T13" fmla="*/ 49 h 74"/>
              <a:gd name="T14" fmla="*/ 83 w 113"/>
              <a:gd name="T15" fmla="*/ 45 h 74"/>
              <a:gd name="T16" fmla="*/ 86 w 113"/>
              <a:gd name="T17" fmla="*/ 41 h 74"/>
              <a:gd name="T18" fmla="*/ 88 w 113"/>
              <a:gd name="T19" fmla="*/ 37 h 74"/>
              <a:gd name="T20" fmla="*/ 90 w 113"/>
              <a:gd name="T21" fmla="*/ 32 h 74"/>
              <a:gd name="T22" fmla="*/ 91 w 113"/>
              <a:gd name="T23" fmla="*/ 26 h 74"/>
              <a:gd name="T24" fmla="*/ 93 w 113"/>
              <a:gd name="T25" fmla="*/ 19 h 74"/>
              <a:gd name="T26" fmla="*/ 94 w 113"/>
              <a:gd name="T27" fmla="*/ 13 h 74"/>
              <a:gd name="T28" fmla="*/ 99 w 113"/>
              <a:gd name="T29" fmla="*/ 12 h 74"/>
              <a:gd name="T30" fmla="*/ 106 w 113"/>
              <a:gd name="T31" fmla="*/ 9 h 74"/>
              <a:gd name="T32" fmla="*/ 108 w 113"/>
              <a:gd name="T33" fmla="*/ 7 h 74"/>
              <a:gd name="T34" fmla="*/ 111 w 113"/>
              <a:gd name="T35" fmla="*/ 5 h 74"/>
              <a:gd name="T36" fmla="*/ 112 w 113"/>
              <a:gd name="T37" fmla="*/ 3 h 74"/>
              <a:gd name="T38" fmla="*/ 113 w 113"/>
              <a:gd name="T39" fmla="*/ 0 h 74"/>
              <a:gd name="T40" fmla="*/ 98 w 113"/>
              <a:gd name="T41" fmla="*/ 4 h 74"/>
              <a:gd name="T42" fmla="*/ 82 w 113"/>
              <a:gd name="T43" fmla="*/ 8 h 74"/>
              <a:gd name="T44" fmla="*/ 65 w 113"/>
              <a:gd name="T45" fmla="*/ 13 h 74"/>
              <a:gd name="T46" fmla="*/ 49 w 113"/>
              <a:gd name="T47" fmla="*/ 19 h 74"/>
              <a:gd name="T48" fmla="*/ 20 w 113"/>
              <a:gd name="T49" fmla="*/ 33 h 74"/>
              <a:gd name="T50" fmla="*/ 0 w 113"/>
              <a:gd name="T51" fmla="*/ 4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95" name="Freeform 247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>
              <a:gd name="T0" fmla="*/ 98 w 746"/>
              <a:gd name="T1" fmla="*/ 452 h 469"/>
              <a:gd name="T2" fmla="*/ 54 w 746"/>
              <a:gd name="T3" fmla="*/ 440 h 469"/>
              <a:gd name="T4" fmla="*/ 21 w 746"/>
              <a:gd name="T5" fmla="*/ 429 h 469"/>
              <a:gd name="T6" fmla="*/ 5 w 746"/>
              <a:gd name="T7" fmla="*/ 413 h 469"/>
              <a:gd name="T8" fmla="*/ 0 w 746"/>
              <a:gd name="T9" fmla="*/ 363 h 469"/>
              <a:gd name="T10" fmla="*/ 5 w 746"/>
              <a:gd name="T11" fmla="*/ 309 h 469"/>
              <a:gd name="T12" fmla="*/ 23 w 746"/>
              <a:gd name="T13" fmla="*/ 273 h 469"/>
              <a:gd name="T14" fmla="*/ 56 w 746"/>
              <a:gd name="T15" fmla="*/ 228 h 469"/>
              <a:gd name="T16" fmla="*/ 121 w 746"/>
              <a:gd name="T17" fmla="*/ 204 h 469"/>
              <a:gd name="T18" fmla="*/ 166 w 746"/>
              <a:gd name="T19" fmla="*/ 188 h 469"/>
              <a:gd name="T20" fmla="*/ 235 w 746"/>
              <a:gd name="T21" fmla="*/ 173 h 469"/>
              <a:gd name="T22" fmla="*/ 262 w 746"/>
              <a:gd name="T23" fmla="*/ 153 h 469"/>
              <a:gd name="T24" fmla="*/ 267 w 746"/>
              <a:gd name="T25" fmla="*/ 136 h 469"/>
              <a:gd name="T26" fmla="*/ 292 w 746"/>
              <a:gd name="T27" fmla="*/ 120 h 469"/>
              <a:gd name="T28" fmla="*/ 332 w 746"/>
              <a:gd name="T29" fmla="*/ 115 h 469"/>
              <a:gd name="T30" fmla="*/ 359 w 746"/>
              <a:gd name="T31" fmla="*/ 101 h 469"/>
              <a:gd name="T32" fmla="*/ 389 w 746"/>
              <a:gd name="T33" fmla="*/ 67 h 469"/>
              <a:gd name="T34" fmla="*/ 425 w 746"/>
              <a:gd name="T35" fmla="*/ 22 h 469"/>
              <a:gd name="T36" fmla="*/ 450 w 746"/>
              <a:gd name="T37" fmla="*/ 6 h 469"/>
              <a:gd name="T38" fmla="*/ 486 w 746"/>
              <a:gd name="T39" fmla="*/ 0 h 469"/>
              <a:gd name="T40" fmla="*/ 507 w 746"/>
              <a:gd name="T41" fmla="*/ 29 h 469"/>
              <a:gd name="T42" fmla="*/ 532 w 746"/>
              <a:gd name="T43" fmla="*/ 53 h 469"/>
              <a:gd name="T44" fmla="*/ 553 w 746"/>
              <a:gd name="T45" fmla="*/ 107 h 469"/>
              <a:gd name="T46" fmla="*/ 579 w 746"/>
              <a:gd name="T47" fmla="*/ 159 h 469"/>
              <a:gd name="T48" fmla="*/ 613 w 746"/>
              <a:gd name="T49" fmla="*/ 172 h 469"/>
              <a:gd name="T50" fmla="*/ 628 w 746"/>
              <a:gd name="T51" fmla="*/ 193 h 469"/>
              <a:gd name="T52" fmla="*/ 650 w 746"/>
              <a:gd name="T53" fmla="*/ 233 h 469"/>
              <a:gd name="T54" fmla="*/ 702 w 746"/>
              <a:gd name="T55" fmla="*/ 279 h 469"/>
              <a:gd name="T56" fmla="*/ 741 w 746"/>
              <a:gd name="T57" fmla="*/ 315 h 469"/>
              <a:gd name="T58" fmla="*/ 711 w 746"/>
              <a:gd name="T59" fmla="*/ 345 h 469"/>
              <a:gd name="T60" fmla="*/ 691 w 746"/>
              <a:gd name="T61" fmla="*/ 342 h 469"/>
              <a:gd name="T62" fmla="*/ 679 w 746"/>
              <a:gd name="T63" fmla="*/ 321 h 469"/>
              <a:gd name="T64" fmla="*/ 651 w 746"/>
              <a:gd name="T65" fmla="*/ 330 h 469"/>
              <a:gd name="T66" fmla="*/ 639 w 746"/>
              <a:gd name="T67" fmla="*/ 352 h 469"/>
              <a:gd name="T68" fmla="*/ 604 w 746"/>
              <a:gd name="T69" fmla="*/ 356 h 469"/>
              <a:gd name="T70" fmla="*/ 553 w 746"/>
              <a:gd name="T71" fmla="*/ 356 h 469"/>
              <a:gd name="T72" fmla="*/ 522 w 746"/>
              <a:gd name="T73" fmla="*/ 365 h 469"/>
              <a:gd name="T74" fmla="*/ 496 w 746"/>
              <a:gd name="T75" fmla="*/ 387 h 469"/>
              <a:gd name="T76" fmla="*/ 486 w 746"/>
              <a:gd name="T77" fmla="*/ 394 h 469"/>
              <a:gd name="T78" fmla="*/ 426 w 746"/>
              <a:gd name="T79" fmla="*/ 400 h 469"/>
              <a:gd name="T80" fmla="*/ 396 w 746"/>
              <a:gd name="T81" fmla="*/ 392 h 469"/>
              <a:gd name="T82" fmla="*/ 349 w 746"/>
              <a:gd name="T83" fmla="*/ 354 h 469"/>
              <a:gd name="T84" fmla="*/ 319 w 746"/>
              <a:gd name="T85" fmla="*/ 345 h 469"/>
              <a:gd name="T86" fmla="*/ 291 w 746"/>
              <a:gd name="T87" fmla="*/ 355 h 469"/>
              <a:gd name="T88" fmla="*/ 266 w 746"/>
              <a:gd name="T89" fmla="*/ 377 h 469"/>
              <a:gd name="T90" fmla="*/ 227 w 746"/>
              <a:gd name="T91" fmla="*/ 437 h 469"/>
              <a:gd name="T92" fmla="*/ 150 w 746"/>
              <a:gd name="T93" fmla="*/ 439 h 469"/>
              <a:gd name="T94" fmla="*/ 135 w 746"/>
              <a:gd name="T95" fmla="*/ 448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96" name="Freeform 248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>
              <a:gd name="T0" fmla="*/ 902 w 1145"/>
              <a:gd name="T1" fmla="*/ 57 h 1053"/>
              <a:gd name="T2" fmla="*/ 993 w 1145"/>
              <a:gd name="T3" fmla="*/ 66 h 1053"/>
              <a:gd name="T4" fmla="*/ 1080 w 1145"/>
              <a:gd name="T5" fmla="*/ 81 h 1053"/>
              <a:gd name="T6" fmla="*/ 1126 w 1145"/>
              <a:gd name="T7" fmla="*/ 175 h 1053"/>
              <a:gd name="T8" fmla="*/ 1133 w 1145"/>
              <a:gd name="T9" fmla="*/ 211 h 1053"/>
              <a:gd name="T10" fmla="*/ 1058 w 1145"/>
              <a:gd name="T11" fmla="*/ 272 h 1053"/>
              <a:gd name="T12" fmla="*/ 1045 w 1145"/>
              <a:gd name="T13" fmla="*/ 360 h 1053"/>
              <a:gd name="T14" fmla="*/ 1003 w 1145"/>
              <a:gd name="T15" fmla="*/ 440 h 1053"/>
              <a:gd name="T16" fmla="*/ 990 w 1145"/>
              <a:gd name="T17" fmla="*/ 476 h 1053"/>
              <a:gd name="T18" fmla="*/ 1019 w 1145"/>
              <a:gd name="T19" fmla="*/ 576 h 1053"/>
              <a:gd name="T20" fmla="*/ 1026 w 1145"/>
              <a:gd name="T21" fmla="*/ 664 h 1053"/>
              <a:gd name="T22" fmla="*/ 1047 w 1145"/>
              <a:gd name="T23" fmla="*/ 731 h 1053"/>
              <a:gd name="T24" fmla="*/ 1079 w 1145"/>
              <a:gd name="T25" fmla="*/ 765 h 1053"/>
              <a:gd name="T26" fmla="*/ 1092 w 1145"/>
              <a:gd name="T27" fmla="*/ 825 h 1053"/>
              <a:gd name="T28" fmla="*/ 1040 w 1145"/>
              <a:gd name="T29" fmla="*/ 844 h 1053"/>
              <a:gd name="T30" fmla="*/ 997 w 1145"/>
              <a:gd name="T31" fmla="*/ 856 h 1053"/>
              <a:gd name="T32" fmla="*/ 960 w 1145"/>
              <a:gd name="T33" fmla="*/ 992 h 1053"/>
              <a:gd name="T34" fmla="*/ 930 w 1145"/>
              <a:gd name="T35" fmla="*/ 1026 h 1053"/>
              <a:gd name="T36" fmla="*/ 902 w 1145"/>
              <a:gd name="T37" fmla="*/ 1031 h 1053"/>
              <a:gd name="T38" fmla="*/ 840 w 1145"/>
              <a:gd name="T39" fmla="*/ 1053 h 1053"/>
              <a:gd name="T40" fmla="*/ 782 w 1145"/>
              <a:gd name="T41" fmla="*/ 1037 h 1053"/>
              <a:gd name="T42" fmla="*/ 743 w 1145"/>
              <a:gd name="T43" fmla="*/ 1014 h 1053"/>
              <a:gd name="T44" fmla="*/ 707 w 1145"/>
              <a:gd name="T45" fmla="*/ 997 h 1053"/>
              <a:gd name="T46" fmla="*/ 674 w 1145"/>
              <a:gd name="T47" fmla="*/ 986 h 1053"/>
              <a:gd name="T48" fmla="*/ 608 w 1145"/>
              <a:gd name="T49" fmla="*/ 987 h 1053"/>
              <a:gd name="T50" fmla="*/ 594 w 1145"/>
              <a:gd name="T51" fmla="*/ 942 h 1053"/>
              <a:gd name="T52" fmla="*/ 575 w 1145"/>
              <a:gd name="T53" fmla="*/ 884 h 1053"/>
              <a:gd name="T54" fmla="*/ 590 w 1145"/>
              <a:gd name="T55" fmla="*/ 846 h 1053"/>
              <a:gd name="T56" fmla="*/ 590 w 1145"/>
              <a:gd name="T57" fmla="*/ 779 h 1053"/>
              <a:gd name="T58" fmla="*/ 454 w 1145"/>
              <a:gd name="T59" fmla="*/ 755 h 1053"/>
              <a:gd name="T60" fmla="*/ 443 w 1145"/>
              <a:gd name="T61" fmla="*/ 785 h 1053"/>
              <a:gd name="T62" fmla="*/ 396 w 1145"/>
              <a:gd name="T63" fmla="*/ 817 h 1053"/>
              <a:gd name="T64" fmla="*/ 337 w 1145"/>
              <a:gd name="T65" fmla="*/ 797 h 1053"/>
              <a:gd name="T66" fmla="*/ 297 w 1145"/>
              <a:gd name="T67" fmla="*/ 708 h 1053"/>
              <a:gd name="T68" fmla="*/ 3 w 1145"/>
              <a:gd name="T69" fmla="*/ 671 h 1053"/>
              <a:gd name="T70" fmla="*/ 45 w 1145"/>
              <a:gd name="T71" fmla="*/ 667 h 1053"/>
              <a:gd name="T72" fmla="*/ 26 w 1145"/>
              <a:gd name="T73" fmla="*/ 631 h 1053"/>
              <a:gd name="T74" fmla="*/ 75 w 1145"/>
              <a:gd name="T75" fmla="*/ 615 h 1053"/>
              <a:gd name="T76" fmla="*/ 145 w 1145"/>
              <a:gd name="T77" fmla="*/ 614 h 1053"/>
              <a:gd name="T78" fmla="*/ 183 w 1145"/>
              <a:gd name="T79" fmla="*/ 620 h 1053"/>
              <a:gd name="T80" fmla="*/ 220 w 1145"/>
              <a:gd name="T81" fmla="*/ 574 h 1053"/>
              <a:gd name="T82" fmla="*/ 260 w 1145"/>
              <a:gd name="T83" fmla="*/ 555 h 1053"/>
              <a:gd name="T84" fmla="*/ 281 w 1145"/>
              <a:gd name="T85" fmla="*/ 440 h 1053"/>
              <a:gd name="T86" fmla="*/ 346 w 1145"/>
              <a:gd name="T87" fmla="*/ 370 h 1053"/>
              <a:gd name="T88" fmla="*/ 370 w 1145"/>
              <a:gd name="T89" fmla="*/ 276 h 1053"/>
              <a:gd name="T90" fmla="*/ 372 w 1145"/>
              <a:gd name="T91" fmla="*/ 180 h 1053"/>
              <a:gd name="T92" fmla="*/ 383 w 1145"/>
              <a:gd name="T93" fmla="*/ 122 h 1053"/>
              <a:gd name="T94" fmla="*/ 440 w 1145"/>
              <a:gd name="T95" fmla="*/ 35 h 1053"/>
              <a:gd name="T96" fmla="*/ 491 w 1145"/>
              <a:gd name="T97" fmla="*/ 30 h 1053"/>
              <a:gd name="T98" fmla="*/ 558 w 1145"/>
              <a:gd name="T99" fmla="*/ 77 h 1053"/>
              <a:gd name="T100" fmla="*/ 637 w 1145"/>
              <a:gd name="T101" fmla="*/ 73 h 1053"/>
              <a:gd name="T102" fmla="*/ 670 w 1145"/>
              <a:gd name="T103" fmla="*/ 44 h 1053"/>
              <a:gd name="T104" fmla="*/ 734 w 1145"/>
              <a:gd name="T105" fmla="*/ 34 h 1053"/>
              <a:gd name="T106" fmla="*/ 795 w 1145"/>
              <a:gd name="T107" fmla="*/ 17 h 1053"/>
              <a:gd name="T108" fmla="*/ 828 w 1145"/>
              <a:gd name="T109" fmla="*/ 8 h 1053"/>
              <a:gd name="T110" fmla="*/ 859 w 1145"/>
              <a:gd name="T111" fmla="*/ 24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97" name="Freeform 249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>
              <a:gd name="T0" fmla="*/ 120 w 125"/>
              <a:gd name="T1" fmla="*/ 0 h 81"/>
              <a:gd name="T2" fmla="*/ 121 w 125"/>
              <a:gd name="T3" fmla="*/ 27 h 81"/>
              <a:gd name="T4" fmla="*/ 124 w 125"/>
              <a:gd name="T5" fmla="*/ 46 h 81"/>
              <a:gd name="T6" fmla="*/ 125 w 125"/>
              <a:gd name="T7" fmla="*/ 53 h 81"/>
              <a:gd name="T8" fmla="*/ 125 w 125"/>
              <a:gd name="T9" fmla="*/ 59 h 81"/>
              <a:gd name="T10" fmla="*/ 125 w 125"/>
              <a:gd name="T11" fmla="*/ 65 h 81"/>
              <a:gd name="T12" fmla="*/ 123 w 125"/>
              <a:gd name="T13" fmla="*/ 69 h 81"/>
              <a:gd name="T14" fmla="*/ 119 w 125"/>
              <a:gd name="T15" fmla="*/ 72 h 81"/>
              <a:gd name="T16" fmla="*/ 112 w 125"/>
              <a:gd name="T17" fmla="*/ 74 h 81"/>
              <a:gd name="T18" fmla="*/ 103 w 125"/>
              <a:gd name="T19" fmla="*/ 76 h 81"/>
              <a:gd name="T20" fmla="*/ 91 w 125"/>
              <a:gd name="T21" fmla="*/ 77 h 81"/>
              <a:gd name="T22" fmla="*/ 57 w 125"/>
              <a:gd name="T23" fmla="*/ 79 h 81"/>
              <a:gd name="T24" fmla="*/ 7 w 125"/>
              <a:gd name="T25" fmla="*/ 81 h 81"/>
              <a:gd name="T26" fmla="*/ 5 w 125"/>
              <a:gd name="T27" fmla="*/ 79 h 81"/>
              <a:gd name="T28" fmla="*/ 3 w 125"/>
              <a:gd name="T29" fmla="*/ 72 h 81"/>
              <a:gd name="T30" fmla="*/ 1 w 125"/>
              <a:gd name="T31" fmla="*/ 59 h 81"/>
              <a:gd name="T32" fmla="*/ 0 w 125"/>
              <a:gd name="T33" fmla="*/ 43 h 81"/>
              <a:gd name="T34" fmla="*/ 0 w 125"/>
              <a:gd name="T35" fmla="*/ 37 h 81"/>
              <a:gd name="T36" fmla="*/ 1 w 125"/>
              <a:gd name="T37" fmla="*/ 31 h 81"/>
              <a:gd name="T38" fmla="*/ 2 w 125"/>
              <a:gd name="T39" fmla="*/ 25 h 81"/>
              <a:gd name="T40" fmla="*/ 4 w 125"/>
              <a:gd name="T41" fmla="*/ 20 h 81"/>
              <a:gd name="T42" fmla="*/ 8 w 125"/>
              <a:gd name="T43" fmla="*/ 15 h 81"/>
              <a:gd name="T44" fmla="*/ 11 w 125"/>
              <a:gd name="T45" fmla="*/ 10 h 81"/>
              <a:gd name="T46" fmla="*/ 14 w 125"/>
              <a:gd name="T47" fmla="*/ 5 h 81"/>
              <a:gd name="T48" fmla="*/ 20 w 125"/>
              <a:gd name="T49" fmla="*/ 0 h 81"/>
              <a:gd name="T50" fmla="*/ 120 w 125"/>
              <a:gd name="T51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98" name="Freeform 250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>
              <a:gd name="T0" fmla="*/ 262 w 355"/>
              <a:gd name="T1" fmla="*/ 15 h 388"/>
              <a:gd name="T2" fmla="*/ 257 w 355"/>
              <a:gd name="T3" fmla="*/ 37 h 388"/>
              <a:gd name="T4" fmla="*/ 264 w 355"/>
              <a:gd name="T5" fmla="*/ 51 h 388"/>
              <a:gd name="T6" fmla="*/ 283 w 355"/>
              <a:gd name="T7" fmla="*/ 60 h 388"/>
              <a:gd name="T8" fmla="*/ 319 w 355"/>
              <a:gd name="T9" fmla="*/ 55 h 388"/>
              <a:gd name="T10" fmla="*/ 332 w 355"/>
              <a:gd name="T11" fmla="*/ 57 h 388"/>
              <a:gd name="T12" fmla="*/ 340 w 355"/>
              <a:gd name="T13" fmla="*/ 68 h 388"/>
              <a:gd name="T14" fmla="*/ 345 w 355"/>
              <a:gd name="T15" fmla="*/ 83 h 388"/>
              <a:gd name="T16" fmla="*/ 351 w 355"/>
              <a:gd name="T17" fmla="*/ 94 h 388"/>
              <a:gd name="T18" fmla="*/ 345 w 355"/>
              <a:gd name="T19" fmla="*/ 108 h 388"/>
              <a:gd name="T20" fmla="*/ 320 w 355"/>
              <a:gd name="T21" fmla="*/ 136 h 388"/>
              <a:gd name="T22" fmla="*/ 348 w 355"/>
              <a:gd name="T23" fmla="*/ 175 h 388"/>
              <a:gd name="T24" fmla="*/ 355 w 355"/>
              <a:gd name="T25" fmla="*/ 202 h 388"/>
              <a:gd name="T26" fmla="*/ 353 w 355"/>
              <a:gd name="T27" fmla="*/ 219 h 388"/>
              <a:gd name="T28" fmla="*/ 345 w 355"/>
              <a:gd name="T29" fmla="*/ 254 h 388"/>
              <a:gd name="T30" fmla="*/ 333 w 355"/>
              <a:gd name="T31" fmla="*/ 271 h 388"/>
              <a:gd name="T32" fmla="*/ 312 w 355"/>
              <a:gd name="T33" fmla="*/ 280 h 388"/>
              <a:gd name="T34" fmla="*/ 286 w 355"/>
              <a:gd name="T35" fmla="*/ 282 h 388"/>
              <a:gd name="T36" fmla="*/ 270 w 355"/>
              <a:gd name="T37" fmla="*/ 282 h 388"/>
              <a:gd name="T38" fmla="*/ 252 w 355"/>
              <a:gd name="T39" fmla="*/ 265 h 388"/>
              <a:gd name="T40" fmla="*/ 240 w 355"/>
              <a:gd name="T41" fmla="*/ 259 h 388"/>
              <a:gd name="T42" fmla="*/ 221 w 355"/>
              <a:gd name="T43" fmla="*/ 269 h 388"/>
              <a:gd name="T44" fmla="*/ 205 w 355"/>
              <a:gd name="T45" fmla="*/ 279 h 388"/>
              <a:gd name="T46" fmla="*/ 194 w 355"/>
              <a:gd name="T47" fmla="*/ 285 h 388"/>
              <a:gd name="T48" fmla="*/ 185 w 355"/>
              <a:gd name="T49" fmla="*/ 298 h 388"/>
              <a:gd name="T50" fmla="*/ 187 w 355"/>
              <a:gd name="T51" fmla="*/ 321 h 388"/>
              <a:gd name="T52" fmla="*/ 207 w 355"/>
              <a:gd name="T53" fmla="*/ 358 h 388"/>
              <a:gd name="T54" fmla="*/ 195 w 355"/>
              <a:gd name="T55" fmla="*/ 353 h 388"/>
              <a:gd name="T56" fmla="*/ 177 w 355"/>
              <a:gd name="T57" fmla="*/ 355 h 388"/>
              <a:gd name="T58" fmla="*/ 162 w 355"/>
              <a:gd name="T59" fmla="*/ 365 h 388"/>
              <a:gd name="T60" fmla="*/ 146 w 355"/>
              <a:gd name="T61" fmla="*/ 388 h 388"/>
              <a:gd name="T62" fmla="*/ 123 w 355"/>
              <a:gd name="T63" fmla="*/ 370 h 388"/>
              <a:gd name="T64" fmla="*/ 113 w 355"/>
              <a:gd name="T65" fmla="*/ 358 h 388"/>
              <a:gd name="T66" fmla="*/ 96 w 355"/>
              <a:gd name="T67" fmla="*/ 324 h 388"/>
              <a:gd name="T68" fmla="*/ 50 w 355"/>
              <a:gd name="T69" fmla="*/ 280 h 388"/>
              <a:gd name="T70" fmla="*/ 22 w 355"/>
              <a:gd name="T71" fmla="*/ 254 h 388"/>
              <a:gd name="T72" fmla="*/ 5 w 355"/>
              <a:gd name="T73" fmla="*/ 223 h 388"/>
              <a:gd name="T74" fmla="*/ 1 w 355"/>
              <a:gd name="T75" fmla="*/ 187 h 388"/>
              <a:gd name="T76" fmla="*/ 11 w 355"/>
              <a:gd name="T77" fmla="*/ 162 h 388"/>
              <a:gd name="T78" fmla="*/ 41 w 355"/>
              <a:gd name="T79" fmla="*/ 134 h 388"/>
              <a:gd name="T80" fmla="*/ 54 w 355"/>
              <a:gd name="T81" fmla="*/ 116 h 388"/>
              <a:gd name="T82" fmla="*/ 56 w 355"/>
              <a:gd name="T83" fmla="*/ 91 h 388"/>
              <a:gd name="T84" fmla="*/ 108 w 355"/>
              <a:gd name="T85" fmla="*/ 83 h 388"/>
              <a:gd name="T86" fmla="*/ 156 w 355"/>
              <a:gd name="T87" fmla="*/ 80 h 388"/>
              <a:gd name="T88" fmla="*/ 172 w 355"/>
              <a:gd name="T89" fmla="*/ 73 h 388"/>
              <a:gd name="T90" fmla="*/ 177 w 355"/>
              <a:gd name="T91" fmla="*/ 63 h 388"/>
              <a:gd name="T92" fmla="*/ 174 w 355"/>
              <a:gd name="T93" fmla="*/ 41 h 388"/>
              <a:gd name="T94" fmla="*/ 167 w 355"/>
              <a:gd name="T95" fmla="*/ 12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299" name="Freeform 251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>
              <a:gd name="T0" fmla="*/ 0 w 599"/>
              <a:gd name="T1" fmla="*/ 259 h 993"/>
              <a:gd name="T2" fmla="*/ 182 w 599"/>
              <a:gd name="T3" fmla="*/ 224 h 993"/>
              <a:gd name="T4" fmla="*/ 230 w 599"/>
              <a:gd name="T5" fmla="*/ 240 h 993"/>
              <a:gd name="T6" fmla="*/ 258 w 599"/>
              <a:gd name="T7" fmla="*/ 258 h 993"/>
              <a:gd name="T8" fmla="*/ 252 w 599"/>
              <a:gd name="T9" fmla="*/ 296 h 993"/>
              <a:gd name="T10" fmla="*/ 234 w 599"/>
              <a:gd name="T11" fmla="*/ 327 h 993"/>
              <a:gd name="T12" fmla="*/ 250 w 599"/>
              <a:gd name="T13" fmla="*/ 357 h 993"/>
              <a:gd name="T14" fmla="*/ 294 w 599"/>
              <a:gd name="T15" fmla="*/ 365 h 993"/>
              <a:gd name="T16" fmla="*/ 319 w 599"/>
              <a:gd name="T17" fmla="*/ 340 h 993"/>
              <a:gd name="T18" fmla="*/ 338 w 599"/>
              <a:gd name="T19" fmla="*/ 317 h 993"/>
              <a:gd name="T20" fmla="*/ 332 w 599"/>
              <a:gd name="T21" fmla="*/ 261 h 993"/>
              <a:gd name="T22" fmla="*/ 314 w 599"/>
              <a:gd name="T23" fmla="*/ 204 h 993"/>
              <a:gd name="T24" fmla="*/ 271 w 599"/>
              <a:gd name="T25" fmla="*/ 157 h 993"/>
              <a:gd name="T26" fmla="*/ 254 w 599"/>
              <a:gd name="T27" fmla="*/ 125 h 993"/>
              <a:gd name="T28" fmla="*/ 270 w 599"/>
              <a:gd name="T29" fmla="*/ 62 h 993"/>
              <a:gd name="T30" fmla="*/ 320 w 599"/>
              <a:gd name="T31" fmla="*/ 55 h 993"/>
              <a:gd name="T32" fmla="*/ 418 w 599"/>
              <a:gd name="T33" fmla="*/ 60 h 993"/>
              <a:gd name="T34" fmla="*/ 521 w 599"/>
              <a:gd name="T35" fmla="*/ 36 h 993"/>
              <a:gd name="T36" fmla="*/ 597 w 599"/>
              <a:gd name="T37" fmla="*/ 3 h 993"/>
              <a:gd name="T38" fmla="*/ 597 w 599"/>
              <a:gd name="T39" fmla="*/ 30 h 993"/>
              <a:gd name="T40" fmla="*/ 597 w 599"/>
              <a:gd name="T41" fmla="*/ 126 h 993"/>
              <a:gd name="T42" fmla="*/ 592 w 599"/>
              <a:gd name="T43" fmla="*/ 228 h 993"/>
              <a:gd name="T44" fmla="*/ 585 w 599"/>
              <a:gd name="T45" fmla="*/ 276 h 993"/>
              <a:gd name="T46" fmla="*/ 550 w 599"/>
              <a:gd name="T47" fmla="*/ 337 h 993"/>
              <a:gd name="T48" fmla="*/ 468 w 599"/>
              <a:gd name="T49" fmla="*/ 402 h 993"/>
              <a:gd name="T50" fmla="*/ 374 w 599"/>
              <a:gd name="T51" fmla="*/ 426 h 993"/>
              <a:gd name="T52" fmla="*/ 353 w 599"/>
              <a:gd name="T53" fmla="*/ 464 h 993"/>
              <a:gd name="T54" fmla="*/ 293 w 599"/>
              <a:gd name="T55" fmla="*/ 507 h 993"/>
              <a:gd name="T56" fmla="*/ 243 w 599"/>
              <a:gd name="T57" fmla="*/ 549 h 993"/>
              <a:gd name="T58" fmla="*/ 229 w 599"/>
              <a:gd name="T59" fmla="*/ 582 h 993"/>
              <a:gd name="T60" fmla="*/ 237 w 599"/>
              <a:gd name="T61" fmla="*/ 619 h 993"/>
              <a:gd name="T62" fmla="*/ 267 w 599"/>
              <a:gd name="T63" fmla="*/ 654 h 993"/>
              <a:gd name="T64" fmla="*/ 254 w 599"/>
              <a:gd name="T65" fmla="*/ 694 h 993"/>
              <a:gd name="T66" fmla="*/ 265 w 599"/>
              <a:gd name="T67" fmla="*/ 729 h 993"/>
              <a:gd name="T68" fmla="*/ 267 w 599"/>
              <a:gd name="T69" fmla="*/ 790 h 993"/>
              <a:gd name="T70" fmla="*/ 256 w 599"/>
              <a:gd name="T71" fmla="*/ 814 h 993"/>
              <a:gd name="T72" fmla="*/ 193 w 599"/>
              <a:gd name="T73" fmla="*/ 873 h 993"/>
              <a:gd name="T74" fmla="*/ 147 w 599"/>
              <a:gd name="T75" fmla="*/ 887 h 993"/>
              <a:gd name="T76" fmla="*/ 102 w 599"/>
              <a:gd name="T77" fmla="*/ 894 h 993"/>
              <a:gd name="T78" fmla="*/ 87 w 599"/>
              <a:gd name="T79" fmla="*/ 913 h 993"/>
              <a:gd name="T80" fmla="*/ 95 w 599"/>
              <a:gd name="T81" fmla="*/ 939 h 993"/>
              <a:gd name="T82" fmla="*/ 91 w 599"/>
              <a:gd name="T83" fmla="*/ 992 h 993"/>
              <a:gd name="T84" fmla="*/ 74 w 599"/>
              <a:gd name="T85" fmla="*/ 810 h 993"/>
              <a:gd name="T86" fmla="*/ 58 w 599"/>
              <a:gd name="T87" fmla="*/ 765 h 993"/>
              <a:gd name="T88" fmla="*/ 41 w 599"/>
              <a:gd name="T89" fmla="*/ 720 h 993"/>
              <a:gd name="T90" fmla="*/ 108 w 599"/>
              <a:gd name="T91" fmla="*/ 666 h 993"/>
              <a:gd name="T92" fmla="*/ 109 w 599"/>
              <a:gd name="T93" fmla="*/ 614 h 993"/>
              <a:gd name="T94" fmla="*/ 149 w 599"/>
              <a:gd name="T95" fmla="*/ 571 h 993"/>
              <a:gd name="T96" fmla="*/ 174 w 599"/>
              <a:gd name="T97" fmla="*/ 526 h 993"/>
              <a:gd name="T98" fmla="*/ 168 w 599"/>
              <a:gd name="T99" fmla="*/ 441 h 993"/>
              <a:gd name="T100" fmla="*/ 152 w 599"/>
              <a:gd name="T101" fmla="*/ 364 h 993"/>
              <a:gd name="T102" fmla="*/ 81 w 599"/>
              <a:gd name="T103" fmla="*/ 341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00" name="Freeform 252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>
              <a:gd name="T0" fmla="*/ 30 w 545"/>
              <a:gd name="T1" fmla="*/ 428 h 549"/>
              <a:gd name="T2" fmla="*/ 46 w 545"/>
              <a:gd name="T3" fmla="*/ 454 h 549"/>
              <a:gd name="T4" fmla="*/ 46 w 545"/>
              <a:gd name="T5" fmla="*/ 512 h 549"/>
              <a:gd name="T6" fmla="*/ 48 w 545"/>
              <a:gd name="T7" fmla="*/ 527 h 549"/>
              <a:gd name="T8" fmla="*/ 55 w 545"/>
              <a:gd name="T9" fmla="*/ 537 h 549"/>
              <a:gd name="T10" fmla="*/ 68 w 545"/>
              <a:gd name="T11" fmla="*/ 545 h 549"/>
              <a:gd name="T12" fmla="*/ 100 w 545"/>
              <a:gd name="T13" fmla="*/ 549 h 549"/>
              <a:gd name="T14" fmla="*/ 113 w 545"/>
              <a:gd name="T15" fmla="*/ 546 h 549"/>
              <a:gd name="T16" fmla="*/ 130 w 545"/>
              <a:gd name="T17" fmla="*/ 533 h 549"/>
              <a:gd name="T18" fmla="*/ 143 w 545"/>
              <a:gd name="T19" fmla="*/ 507 h 549"/>
              <a:gd name="T20" fmla="*/ 154 w 545"/>
              <a:gd name="T21" fmla="*/ 477 h 549"/>
              <a:gd name="T22" fmla="*/ 169 w 545"/>
              <a:gd name="T23" fmla="*/ 454 h 549"/>
              <a:gd name="T24" fmla="*/ 183 w 545"/>
              <a:gd name="T25" fmla="*/ 445 h 549"/>
              <a:gd name="T26" fmla="*/ 201 w 545"/>
              <a:gd name="T27" fmla="*/ 444 h 549"/>
              <a:gd name="T28" fmla="*/ 222 w 545"/>
              <a:gd name="T29" fmla="*/ 448 h 549"/>
              <a:gd name="T30" fmla="*/ 252 w 545"/>
              <a:gd name="T31" fmla="*/ 461 h 549"/>
              <a:gd name="T32" fmla="*/ 272 w 545"/>
              <a:gd name="T33" fmla="*/ 468 h 549"/>
              <a:gd name="T34" fmla="*/ 297 w 545"/>
              <a:gd name="T35" fmla="*/ 469 h 549"/>
              <a:gd name="T36" fmla="*/ 319 w 545"/>
              <a:gd name="T37" fmla="*/ 464 h 549"/>
              <a:gd name="T38" fmla="*/ 332 w 545"/>
              <a:gd name="T39" fmla="*/ 453 h 549"/>
              <a:gd name="T40" fmla="*/ 359 w 545"/>
              <a:gd name="T41" fmla="*/ 388 h 549"/>
              <a:gd name="T42" fmla="*/ 382 w 545"/>
              <a:gd name="T43" fmla="*/ 363 h 549"/>
              <a:gd name="T44" fmla="*/ 447 w 545"/>
              <a:gd name="T45" fmla="*/ 314 h 549"/>
              <a:gd name="T46" fmla="*/ 527 w 545"/>
              <a:gd name="T47" fmla="*/ 264 h 549"/>
              <a:gd name="T48" fmla="*/ 528 w 545"/>
              <a:gd name="T49" fmla="*/ 232 h 549"/>
              <a:gd name="T50" fmla="*/ 503 w 545"/>
              <a:gd name="T51" fmla="*/ 218 h 549"/>
              <a:gd name="T52" fmla="*/ 485 w 545"/>
              <a:gd name="T53" fmla="*/ 199 h 549"/>
              <a:gd name="T54" fmla="*/ 460 w 545"/>
              <a:gd name="T55" fmla="*/ 157 h 549"/>
              <a:gd name="T56" fmla="*/ 440 w 545"/>
              <a:gd name="T57" fmla="*/ 132 h 549"/>
              <a:gd name="T58" fmla="*/ 377 w 545"/>
              <a:gd name="T59" fmla="*/ 76 h 549"/>
              <a:gd name="T60" fmla="*/ 359 w 545"/>
              <a:gd name="T61" fmla="*/ 53 h 549"/>
              <a:gd name="T62" fmla="*/ 348 w 545"/>
              <a:gd name="T63" fmla="*/ 24 h 549"/>
              <a:gd name="T64" fmla="*/ 319 w 545"/>
              <a:gd name="T65" fmla="*/ 0 h 549"/>
              <a:gd name="T66" fmla="*/ 244 w 545"/>
              <a:gd name="T67" fmla="*/ 2 h 549"/>
              <a:gd name="T68" fmla="*/ 176 w 545"/>
              <a:gd name="T69" fmla="*/ 13 h 549"/>
              <a:gd name="T70" fmla="*/ 95 w 545"/>
              <a:gd name="T71" fmla="*/ 22 h 549"/>
              <a:gd name="T72" fmla="*/ 71 w 545"/>
              <a:gd name="T73" fmla="*/ 27 h 549"/>
              <a:gd name="T74" fmla="*/ 67 w 545"/>
              <a:gd name="T75" fmla="*/ 38 h 549"/>
              <a:gd name="T76" fmla="*/ 73 w 545"/>
              <a:gd name="T77" fmla="*/ 56 h 549"/>
              <a:gd name="T78" fmla="*/ 84 w 545"/>
              <a:gd name="T79" fmla="*/ 74 h 549"/>
              <a:gd name="T80" fmla="*/ 86 w 545"/>
              <a:gd name="T81" fmla="*/ 107 h 549"/>
              <a:gd name="T82" fmla="*/ 74 w 545"/>
              <a:gd name="T83" fmla="*/ 171 h 549"/>
              <a:gd name="T84" fmla="*/ 62 w 545"/>
              <a:gd name="T85" fmla="*/ 237 h 549"/>
              <a:gd name="T86" fmla="*/ 47 w 545"/>
              <a:gd name="T87" fmla="*/ 263 h 549"/>
              <a:gd name="T88" fmla="*/ 26 w 545"/>
              <a:gd name="T89" fmla="*/ 277 h 549"/>
              <a:gd name="T90" fmla="*/ 5 w 545"/>
              <a:gd name="T91" fmla="*/ 307 h 549"/>
              <a:gd name="T92" fmla="*/ 1 w 545"/>
              <a:gd name="T93" fmla="*/ 339 h 549"/>
              <a:gd name="T94" fmla="*/ 8 w 545"/>
              <a:gd name="T95" fmla="*/ 367 h 549"/>
              <a:gd name="T96" fmla="*/ 8 w 545"/>
              <a:gd name="T97" fmla="*/ 391 h 549"/>
              <a:gd name="T98" fmla="*/ 0 w 545"/>
              <a:gd name="T99" fmla="*/ 40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01" name="Freeform 253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>
              <a:gd name="T0" fmla="*/ 112 w 452"/>
              <a:gd name="T1" fmla="*/ 261 h 832"/>
              <a:gd name="T2" fmla="*/ 138 w 452"/>
              <a:gd name="T3" fmla="*/ 248 h 832"/>
              <a:gd name="T4" fmla="*/ 165 w 452"/>
              <a:gd name="T5" fmla="*/ 240 h 832"/>
              <a:gd name="T6" fmla="*/ 192 w 452"/>
              <a:gd name="T7" fmla="*/ 232 h 832"/>
              <a:gd name="T8" fmla="*/ 215 w 452"/>
              <a:gd name="T9" fmla="*/ 217 h 832"/>
              <a:gd name="T10" fmla="*/ 232 w 452"/>
              <a:gd name="T11" fmla="*/ 200 h 832"/>
              <a:gd name="T12" fmla="*/ 232 w 452"/>
              <a:gd name="T13" fmla="*/ 179 h 832"/>
              <a:gd name="T14" fmla="*/ 265 w 452"/>
              <a:gd name="T15" fmla="*/ 178 h 832"/>
              <a:gd name="T16" fmla="*/ 282 w 452"/>
              <a:gd name="T17" fmla="*/ 173 h 832"/>
              <a:gd name="T18" fmla="*/ 298 w 452"/>
              <a:gd name="T19" fmla="*/ 162 h 832"/>
              <a:gd name="T20" fmla="*/ 320 w 452"/>
              <a:gd name="T21" fmla="*/ 133 h 832"/>
              <a:gd name="T22" fmla="*/ 350 w 452"/>
              <a:gd name="T23" fmla="*/ 75 h 832"/>
              <a:gd name="T24" fmla="*/ 378 w 452"/>
              <a:gd name="T25" fmla="*/ 0 h 832"/>
              <a:gd name="T26" fmla="*/ 385 w 452"/>
              <a:gd name="T27" fmla="*/ 19 h 832"/>
              <a:gd name="T28" fmla="*/ 407 w 452"/>
              <a:gd name="T29" fmla="*/ 47 h 832"/>
              <a:gd name="T30" fmla="*/ 448 w 452"/>
              <a:gd name="T31" fmla="*/ 85 h 832"/>
              <a:gd name="T32" fmla="*/ 440 w 452"/>
              <a:gd name="T33" fmla="*/ 103 h 832"/>
              <a:gd name="T34" fmla="*/ 444 w 452"/>
              <a:gd name="T35" fmla="*/ 138 h 832"/>
              <a:gd name="T36" fmla="*/ 452 w 452"/>
              <a:gd name="T37" fmla="*/ 185 h 832"/>
              <a:gd name="T38" fmla="*/ 448 w 452"/>
              <a:gd name="T39" fmla="*/ 206 h 832"/>
              <a:gd name="T40" fmla="*/ 428 w 452"/>
              <a:gd name="T41" fmla="*/ 234 h 832"/>
              <a:gd name="T42" fmla="*/ 409 w 452"/>
              <a:gd name="T43" fmla="*/ 261 h 832"/>
              <a:gd name="T44" fmla="*/ 405 w 452"/>
              <a:gd name="T45" fmla="*/ 283 h 832"/>
              <a:gd name="T46" fmla="*/ 393 w 452"/>
              <a:gd name="T47" fmla="*/ 308 h 832"/>
              <a:gd name="T48" fmla="*/ 383 w 452"/>
              <a:gd name="T49" fmla="*/ 318 h 832"/>
              <a:gd name="T50" fmla="*/ 377 w 452"/>
              <a:gd name="T51" fmla="*/ 332 h 832"/>
              <a:gd name="T52" fmla="*/ 368 w 452"/>
              <a:gd name="T53" fmla="*/ 364 h 832"/>
              <a:gd name="T54" fmla="*/ 338 w 452"/>
              <a:gd name="T55" fmla="*/ 427 h 832"/>
              <a:gd name="T56" fmla="*/ 321 w 452"/>
              <a:gd name="T57" fmla="*/ 470 h 832"/>
              <a:gd name="T58" fmla="*/ 318 w 452"/>
              <a:gd name="T59" fmla="*/ 500 h 832"/>
              <a:gd name="T60" fmla="*/ 310 w 452"/>
              <a:gd name="T61" fmla="*/ 531 h 832"/>
              <a:gd name="T62" fmla="*/ 281 w 452"/>
              <a:gd name="T63" fmla="*/ 602 h 832"/>
              <a:gd name="T64" fmla="*/ 260 w 452"/>
              <a:gd name="T65" fmla="*/ 637 h 832"/>
              <a:gd name="T66" fmla="*/ 242 w 452"/>
              <a:gd name="T67" fmla="*/ 655 h 832"/>
              <a:gd name="T68" fmla="*/ 232 w 452"/>
              <a:gd name="T69" fmla="*/ 660 h 832"/>
              <a:gd name="T70" fmla="*/ 228 w 452"/>
              <a:gd name="T71" fmla="*/ 714 h 832"/>
              <a:gd name="T72" fmla="*/ 215 w 452"/>
              <a:gd name="T73" fmla="*/ 759 h 832"/>
              <a:gd name="T74" fmla="*/ 191 w 452"/>
              <a:gd name="T75" fmla="*/ 795 h 832"/>
              <a:gd name="T76" fmla="*/ 157 w 452"/>
              <a:gd name="T77" fmla="*/ 819 h 832"/>
              <a:gd name="T78" fmla="*/ 110 w 452"/>
              <a:gd name="T79" fmla="*/ 831 h 832"/>
              <a:gd name="T80" fmla="*/ 80 w 452"/>
              <a:gd name="T81" fmla="*/ 827 h 832"/>
              <a:gd name="T82" fmla="*/ 73 w 452"/>
              <a:gd name="T83" fmla="*/ 817 h 832"/>
              <a:gd name="T84" fmla="*/ 50 w 452"/>
              <a:gd name="T85" fmla="*/ 810 h 832"/>
              <a:gd name="T86" fmla="*/ 26 w 452"/>
              <a:gd name="T87" fmla="*/ 798 h 832"/>
              <a:gd name="T88" fmla="*/ 12 w 452"/>
              <a:gd name="T89" fmla="*/ 777 h 832"/>
              <a:gd name="T90" fmla="*/ 3 w 452"/>
              <a:gd name="T91" fmla="*/ 752 h 832"/>
              <a:gd name="T92" fmla="*/ 0 w 452"/>
              <a:gd name="T93" fmla="*/ 708 h 832"/>
              <a:gd name="T94" fmla="*/ 4 w 452"/>
              <a:gd name="T95" fmla="*/ 694 h 832"/>
              <a:gd name="T96" fmla="*/ 19 w 452"/>
              <a:gd name="T97" fmla="*/ 678 h 832"/>
              <a:gd name="T98" fmla="*/ 11 w 452"/>
              <a:gd name="T99" fmla="*/ 672 h 832"/>
              <a:gd name="T100" fmla="*/ 0 w 452"/>
              <a:gd name="T101" fmla="*/ 652 h 832"/>
              <a:gd name="T102" fmla="*/ 5 w 452"/>
              <a:gd name="T103" fmla="*/ 628 h 832"/>
              <a:gd name="T104" fmla="*/ 8 w 452"/>
              <a:gd name="T105" fmla="*/ 610 h 832"/>
              <a:gd name="T106" fmla="*/ 5 w 452"/>
              <a:gd name="T107" fmla="*/ 591 h 832"/>
              <a:gd name="T108" fmla="*/ 18 w 452"/>
              <a:gd name="T109" fmla="*/ 587 h 832"/>
              <a:gd name="T110" fmla="*/ 43 w 452"/>
              <a:gd name="T111" fmla="*/ 568 h 832"/>
              <a:gd name="T112" fmla="*/ 63 w 452"/>
              <a:gd name="T113" fmla="*/ 538 h 832"/>
              <a:gd name="T114" fmla="*/ 76 w 452"/>
              <a:gd name="T115" fmla="*/ 506 h 832"/>
              <a:gd name="T116" fmla="*/ 86 w 452"/>
              <a:gd name="T117" fmla="*/ 462 h 832"/>
              <a:gd name="T118" fmla="*/ 83 w 452"/>
              <a:gd name="T119" fmla="*/ 438 h 832"/>
              <a:gd name="T120" fmla="*/ 70 w 452"/>
              <a:gd name="T121" fmla="*/ 408 h 832"/>
              <a:gd name="T122" fmla="*/ 56 w 452"/>
              <a:gd name="T123" fmla="*/ 382 h 832"/>
              <a:gd name="T124" fmla="*/ 53 w 452"/>
              <a:gd name="T125" fmla="*/ 363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02" name="Freeform 254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>
              <a:gd name="T0" fmla="*/ 80 w 80"/>
              <a:gd name="T1" fmla="*/ 2 h 126"/>
              <a:gd name="T2" fmla="*/ 80 w 80"/>
              <a:gd name="T3" fmla="*/ 101 h 126"/>
              <a:gd name="T4" fmla="*/ 78 w 80"/>
              <a:gd name="T5" fmla="*/ 104 h 126"/>
              <a:gd name="T6" fmla="*/ 75 w 80"/>
              <a:gd name="T7" fmla="*/ 107 h 126"/>
              <a:gd name="T8" fmla="*/ 70 w 80"/>
              <a:gd name="T9" fmla="*/ 109 h 126"/>
              <a:gd name="T10" fmla="*/ 67 w 80"/>
              <a:gd name="T11" fmla="*/ 111 h 126"/>
              <a:gd name="T12" fmla="*/ 58 w 80"/>
              <a:gd name="T13" fmla="*/ 114 h 126"/>
              <a:gd name="T14" fmla="*/ 48 w 80"/>
              <a:gd name="T15" fmla="*/ 116 h 126"/>
              <a:gd name="T16" fmla="*/ 36 w 80"/>
              <a:gd name="T17" fmla="*/ 117 h 126"/>
              <a:gd name="T18" fmla="*/ 25 w 80"/>
              <a:gd name="T19" fmla="*/ 119 h 126"/>
              <a:gd name="T20" fmla="*/ 13 w 80"/>
              <a:gd name="T21" fmla="*/ 123 h 126"/>
              <a:gd name="T22" fmla="*/ 0 w 80"/>
              <a:gd name="T23" fmla="*/ 126 h 126"/>
              <a:gd name="T24" fmla="*/ 7 w 80"/>
              <a:gd name="T25" fmla="*/ 40 h 126"/>
              <a:gd name="T26" fmla="*/ 23 w 80"/>
              <a:gd name="T27" fmla="*/ 27 h 126"/>
              <a:gd name="T28" fmla="*/ 41 w 80"/>
              <a:gd name="T29" fmla="*/ 12 h 126"/>
              <a:gd name="T30" fmla="*/ 51 w 80"/>
              <a:gd name="T31" fmla="*/ 5 h 126"/>
              <a:gd name="T32" fmla="*/ 60 w 80"/>
              <a:gd name="T33" fmla="*/ 1 h 126"/>
              <a:gd name="T34" fmla="*/ 65 w 80"/>
              <a:gd name="T35" fmla="*/ 0 h 126"/>
              <a:gd name="T36" fmla="*/ 70 w 80"/>
              <a:gd name="T37" fmla="*/ 0 h 126"/>
              <a:gd name="T38" fmla="*/ 75 w 80"/>
              <a:gd name="T39" fmla="*/ 1 h 126"/>
              <a:gd name="T40" fmla="*/ 80 w 80"/>
              <a:gd name="T41" fmla="*/ 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03" name="Freeform 255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>
              <a:gd name="T0" fmla="*/ 113 w 124"/>
              <a:gd name="T1" fmla="*/ 0 h 117"/>
              <a:gd name="T2" fmla="*/ 116 w 124"/>
              <a:gd name="T3" fmla="*/ 15 h 117"/>
              <a:gd name="T4" fmla="*/ 122 w 124"/>
              <a:gd name="T5" fmla="*/ 35 h 117"/>
              <a:gd name="T6" fmla="*/ 124 w 124"/>
              <a:gd name="T7" fmla="*/ 45 h 117"/>
              <a:gd name="T8" fmla="*/ 124 w 124"/>
              <a:gd name="T9" fmla="*/ 54 h 117"/>
              <a:gd name="T10" fmla="*/ 124 w 124"/>
              <a:gd name="T11" fmla="*/ 59 h 117"/>
              <a:gd name="T12" fmla="*/ 123 w 124"/>
              <a:gd name="T13" fmla="*/ 64 h 117"/>
              <a:gd name="T14" fmla="*/ 122 w 124"/>
              <a:gd name="T15" fmla="*/ 69 h 117"/>
              <a:gd name="T16" fmla="*/ 119 w 124"/>
              <a:gd name="T17" fmla="*/ 73 h 117"/>
              <a:gd name="T18" fmla="*/ 114 w 124"/>
              <a:gd name="T19" fmla="*/ 72 h 117"/>
              <a:gd name="T20" fmla="*/ 108 w 124"/>
              <a:gd name="T21" fmla="*/ 71 h 117"/>
              <a:gd name="T22" fmla="*/ 103 w 124"/>
              <a:gd name="T23" fmla="*/ 72 h 117"/>
              <a:gd name="T24" fmla="*/ 96 w 124"/>
              <a:gd name="T25" fmla="*/ 73 h 117"/>
              <a:gd name="T26" fmla="*/ 83 w 124"/>
              <a:gd name="T27" fmla="*/ 78 h 117"/>
              <a:gd name="T28" fmla="*/ 71 w 124"/>
              <a:gd name="T29" fmla="*/ 85 h 117"/>
              <a:gd name="T30" fmla="*/ 46 w 124"/>
              <a:gd name="T31" fmla="*/ 103 h 117"/>
              <a:gd name="T32" fmla="*/ 26 w 124"/>
              <a:gd name="T33" fmla="*/ 117 h 117"/>
              <a:gd name="T34" fmla="*/ 23 w 124"/>
              <a:gd name="T35" fmla="*/ 112 h 117"/>
              <a:gd name="T36" fmla="*/ 13 w 124"/>
              <a:gd name="T37" fmla="*/ 101 h 117"/>
              <a:gd name="T38" fmla="*/ 4 w 124"/>
              <a:gd name="T39" fmla="*/ 89 h 117"/>
              <a:gd name="T40" fmla="*/ 0 w 124"/>
              <a:gd name="T41" fmla="*/ 79 h 117"/>
              <a:gd name="T42" fmla="*/ 1 w 124"/>
              <a:gd name="T43" fmla="*/ 76 h 117"/>
              <a:gd name="T44" fmla="*/ 2 w 124"/>
              <a:gd name="T45" fmla="*/ 72 h 117"/>
              <a:gd name="T46" fmla="*/ 5 w 124"/>
              <a:gd name="T47" fmla="*/ 67 h 117"/>
              <a:gd name="T48" fmla="*/ 9 w 124"/>
              <a:gd name="T49" fmla="*/ 62 h 117"/>
              <a:gd name="T50" fmla="*/ 17 w 124"/>
              <a:gd name="T51" fmla="*/ 52 h 117"/>
              <a:gd name="T52" fmla="*/ 27 w 124"/>
              <a:gd name="T53" fmla="*/ 42 h 117"/>
              <a:gd name="T54" fmla="*/ 48 w 124"/>
              <a:gd name="T55" fmla="*/ 22 h 117"/>
              <a:gd name="T56" fmla="*/ 60 w 124"/>
              <a:gd name="T57" fmla="*/ 12 h 117"/>
              <a:gd name="T58" fmla="*/ 73 w 124"/>
              <a:gd name="T59" fmla="*/ 12 h 117"/>
              <a:gd name="T60" fmla="*/ 86 w 124"/>
              <a:gd name="T61" fmla="*/ 12 h 117"/>
              <a:gd name="T62" fmla="*/ 100 w 124"/>
              <a:gd name="T63" fmla="*/ 6 h 117"/>
              <a:gd name="T64" fmla="*/ 113 w 124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04" name="Freeform 256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>
              <a:gd name="T0" fmla="*/ 928 w 1156"/>
              <a:gd name="T1" fmla="*/ 191 h 900"/>
              <a:gd name="T2" fmla="*/ 859 w 1156"/>
              <a:gd name="T3" fmla="*/ 162 h 900"/>
              <a:gd name="T4" fmla="*/ 773 w 1156"/>
              <a:gd name="T5" fmla="*/ 111 h 900"/>
              <a:gd name="T6" fmla="*/ 617 w 1156"/>
              <a:gd name="T7" fmla="*/ 104 h 900"/>
              <a:gd name="T8" fmla="*/ 551 w 1156"/>
              <a:gd name="T9" fmla="*/ 154 h 900"/>
              <a:gd name="T10" fmla="*/ 504 w 1156"/>
              <a:gd name="T11" fmla="*/ 179 h 900"/>
              <a:gd name="T12" fmla="*/ 426 w 1156"/>
              <a:gd name="T13" fmla="*/ 197 h 900"/>
              <a:gd name="T14" fmla="*/ 383 w 1156"/>
              <a:gd name="T15" fmla="*/ 199 h 900"/>
              <a:gd name="T16" fmla="*/ 355 w 1156"/>
              <a:gd name="T17" fmla="*/ 173 h 900"/>
              <a:gd name="T18" fmla="*/ 260 w 1156"/>
              <a:gd name="T19" fmla="*/ 136 h 900"/>
              <a:gd name="T20" fmla="*/ 228 w 1156"/>
              <a:gd name="T21" fmla="*/ 86 h 900"/>
              <a:gd name="T22" fmla="*/ 220 w 1156"/>
              <a:gd name="T23" fmla="*/ 23 h 900"/>
              <a:gd name="T24" fmla="*/ 188 w 1156"/>
              <a:gd name="T25" fmla="*/ 1 h 900"/>
              <a:gd name="T26" fmla="*/ 155 w 1156"/>
              <a:gd name="T27" fmla="*/ 21 h 900"/>
              <a:gd name="T28" fmla="*/ 136 w 1156"/>
              <a:gd name="T29" fmla="*/ 67 h 900"/>
              <a:gd name="T30" fmla="*/ 79 w 1156"/>
              <a:gd name="T31" fmla="*/ 54 h 900"/>
              <a:gd name="T32" fmla="*/ 4 w 1156"/>
              <a:gd name="T33" fmla="*/ 16 h 900"/>
              <a:gd name="T34" fmla="*/ 5 w 1156"/>
              <a:gd name="T35" fmla="*/ 72 h 900"/>
              <a:gd name="T36" fmla="*/ 45 w 1156"/>
              <a:gd name="T37" fmla="*/ 146 h 900"/>
              <a:gd name="T38" fmla="*/ 73 w 1156"/>
              <a:gd name="T39" fmla="*/ 205 h 900"/>
              <a:gd name="T40" fmla="*/ 135 w 1156"/>
              <a:gd name="T41" fmla="*/ 284 h 900"/>
              <a:gd name="T42" fmla="*/ 122 w 1156"/>
              <a:gd name="T43" fmla="*/ 316 h 900"/>
              <a:gd name="T44" fmla="*/ 133 w 1156"/>
              <a:gd name="T45" fmla="*/ 370 h 900"/>
              <a:gd name="T46" fmla="*/ 188 w 1156"/>
              <a:gd name="T47" fmla="*/ 428 h 900"/>
              <a:gd name="T48" fmla="*/ 259 w 1156"/>
              <a:gd name="T49" fmla="*/ 456 h 900"/>
              <a:gd name="T50" fmla="*/ 259 w 1156"/>
              <a:gd name="T51" fmla="*/ 524 h 900"/>
              <a:gd name="T52" fmla="*/ 335 w 1156"/>
              <a:gd name="T53" fmla="*/ 581 h 900"/>
              <a:gd name="T54" fmla="*/ 423 w 1156"/>
              <a:gd name="T55" fmla="*/ 664 h 900"/>
              <a:gd name="T56" fmla="*/ 471 w 1156"/>
              <a:gd name="T57" fmla="*/ 720 h 900"/>
              <a:gd name="T58" fmla="*/ 504 w 1156"/>
              <a:gd name="T59" fmla="*/ 733 h 900"/>
              <a:gd name="T60" fmla="*/ 542 w 1156"/>
              <a:gd name="T61" fmla="*/ 755 h 900"/>
              <a:gd name="T62" fmla="*/ 598 w 1156"/>
              <a:gd name="T63" fmla="*/ 787 h 900"/>
              <a:gd name="T64" fmla="*/ 685 w 1156"/>
              <a:gd name="T65" fmla="*/ 795 h 900"/>
              <a:gd name="T66" fmla="*/ 732 w 1156"/>
              <a:gd name="T67" fmla="*/ 780 h 900"/>
              <a:gd name="T68" fmla="*/ 779 w 1156"/>
              <a:gd name="T69" fmla="*/ 764 h 900"/>
              <a:gd name="T70" fmla="*/ 801 w 1156"/>
              <a:gd name="T71" fmla="*/ 796 h 900"/>
              <a:gd name="T72" fmla="*/ 813 w 1156"/>
              <a:gd name="T73" fmla="*/ 857 h 900"/>
              <a:gd name="T74" fmla="*/ 874 w 1156"/>
              <a:gd name="T75" fmla="*/ 874 h 900"/>
              <a:gd name="T76" fmla="*/ 1011 w 1156"/>
              <a:gd name="T77" fmla="*/ 892 h 900"/>
              <a:gd name="T78" fmla="*/ 1091 w 1156"/>
              <a:gd name="T79" fmla="*/ 879 h 900"/>
              <a:gd name="T80" fmla="*/ 1099 w 1156"/>
              <a:gd name="T81" fmla="*/ 831 h 900"/>
              <a:gd name="T82" fmla="*/ 1156 w 1156"/>
              <a:gd name="T83" fmla="*/ 770 h 900"/>
              <a:gd name="T84" fmla="*/ 1132 w 1156"/>
              <a:gd name="T85" fmla="*/ 750 h 900"/>
              <a:gd name="T86" fmla="*/ 1096 w 1156"/>
              <a:gd name="T87" fmla="*/ 708 h 900"/>
              <a:gd name="T88" fmla="*/ 1031 w 1156"/>
              <a:gd name="T89" fmla="*/ 643 h 900"/>
              <a:gd name="T90" fmla="*/ 1018 w 1156"/>
              <a:gd name="T91" fmla="*/ 603 h 900"/>
              <a:gd name="T92" fmla="*/ 1044 w 1156"/>
              <a:gd name="T93" fmla="*/ 559 h 900"/>
              <a:gd name="T94" fmla="*/ 1048 w 1156"/>
              <a:gd name="T95" fmla="*/ 526 h 900"/>
              <a:gd name="T96" fmla="*/ 1030 w 1156"/>
              <a:gd name="T97" fmla="*/ 512 h 900"/>
              <a:gd name="T98" fmla="*/ 983 w 1156"/>
              <a:gd name="T99" fmla="*/ 507 h 900"/>
              <a:gd name="T100" fmla="*/ 954 w 1156"/>
              <a:gd name="T101" fmla="*/ 453 h 900"/>
              <a:gd name="T102" fmla="*/ 937 w 1156"/>
              <a:gd name="T103" fmla="*/ 373 h 900"/>
              <a:gd name="T104" fmla="*/ 924 w 1156"/>
              <a:gd name="T105" fmla="*/ 357 h 900"/>
              <a:gd name="T106" fmla="*/ 940 w 1156"/>
              <a:gd name="T107" fmla="*/ 334 h 900"/>
              <a:gd name="T108" fmla="*/ 960 w 1156"/>
              <a:gd name="T109" fmla="*/ 293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05" name="Freeform 257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>
              <a:gd name="T0" fmla="*/ 26 w 571"/>
              <a:gd name="T1" fmla="*/ 190 h 443"/>
              <a:gd name="T2" fmla="*/ 37 w 571"/>
              <a:gd name="T3" fmla="*/ 177 h 443"/>
              <a:gd name="T4" fmla="*/ 41 w 571"/>
              <a:gd name="T5" fmla="*/ 164 h 443"/>
              <a:gd name="T6" fmla="*/ 39 w 571"/>
              <a:gd name="T7" fmla="*/ 129 h 443"/>
              <a:gd name="T8" fmla="*/ 44 w 571"/>
              <a:gd name="T9" fmla="*/ 120 h 443"/>
              <a:gd name="T10" fmla="*/ 55 w 571"/>
              <a:gd name="T11" fmla="*/ 112 h 443"/>
              <a:gd name="T12" fmla="*/ 68 w 571"/>
              <a:gd name="T13" fmla="*/ 107 h 443"/>
              <a:gd name="T14" fmla="*/ 80 w 571"/>
              <a:gd name="T15" fmla="*/ 104 h 443"/>
              <a:gd name="T16" fmla="*/ 103 w 571"/>
              <a:gd name="T17" fmla="*/ 106 h 443"/>
              <a:gd name="T18" fmla="*/ 124 w 571"/>
              <a:gd name="T19" fmla="*/ 109 h 443"/>
              <a:gd name="T20" fmla="*/ 158 w 571"/>
              <a:gd name="T21" fmla="*/ 120 h 443"/>
              <a:gd name="T22" fmla="*/ 184 w 571"/>
              <a:gd name="T23" fmla="*/ 135 h 443"/>
              <a:gd name="T24" fmla="*/ 206 w 571"/>
              <a:gd name="T25" fmla="*/ 154 h 443"/>
              <a:gd name="T26" fmla="*/ 254 w 571"/>
              <a:gd name="T27" fmla="*/ 92 h 443"/>
              <a:gd name="T28" fmla="*/ 285 w 571"/>
              <a:gd name="T29" fmla="*/ 49 h 443"/>
              <a:gd name="T30" fmla="*/ 538 w 571"/>
              <a:gd name="T31" fmla="*/ 43 h 443"/>
              <a:gd name="T32" fmla="*/ 557 w 571"/>
              <a:gd name="T33" fmla="*/ 78 h 443"/>
              <a:gd name="T34" fmla="*/ 562 w 571"/>
              <a:gd name="T35" fmla="*/ 98 h 443"/>
              <a:gd name="T36" fmla="*/ 564 w 571"/>
              <a:gd name="T37" fmla="*/ 123 h 443"/>
              <a:gd name="T38" fmla="*/ 568 w 571"/>
              <a:gd name="T39" fmla="*/ 151 h 443"/>
              <a:gd name="T40" fmla="*/ 571 w 571"/>
              <a:gd name="T41" fmla="*/ 178 h 443"/>
              <a:gd name="T42" fmla="*/ 564 w 571"/>
              <a:gd name="T43" fmla="*/ 180 h 443"/>
              <a:gd name="T44" fmla="*/ 562 w 571"/>
              <a:gd name="T45" fmla="*/ 179 h 443"/>
              <a:gd name="T46" fmla="*/ 558 w 571"/>
              <a:gd name="T47" fmla="*/ 184 h 443"/>
              <a:gd name="T48" fmla="*/ 548 w 571"/>
              <a:gd name="T49" fmla="*/ 207 h 443"/>
              <a:gd name="T50" fmla="*/ 534 w 571"/>
              <a:gd name="T51" fmla="*/ 225 h 443"/>
              <a:gd name="T52" fmla="*/ 515 w 571"/>
              <a:gd name="T53" fmla="*/ 239 h 443"/>
              <a:gd name="T54" fmla="*/ 494 w 571"/>
              <a:gd name="T55" fmla="*/ 249 h 443"/>
              <a:gd name="T56" fmla="*/ 405 w 571"/>
              <a:gd name="T57" fmla="*/ 283 h 443"/>
              <a:gd name="T58" fmla="*/ 347 w 571"/>
              <a:gd name="T59" fmla="*/ 307 h 443"/>
              <a:gd name="T60" fmla="*/ 295 w 571"/>
              <a:gd name="T61" fmla="*/ 328 h 443"/>
              <a:gd name="T62" fmla="*/ 245 w 571"/>
              <a:gd name="T63" fmla="*/ 345 h 443"/>
              <a:gd name="T64" fmla="*/ 186 w 571"/>
              <a:gd name="T65" fmla="*/ 363 h 443"/>
              <a:gd name="T66" fmla="*/ 167 w 571"/>
              <a:gd name="T67" fmla="*/ 371 h 443"/>
              <a:gd name="T68" fmla="*/ 149 w 571"/>
              <a:gd name="T69" fmla="*/ 381 h 443"/>
              <a:gd name="T70" fmla="*/ 119 w 571"/>
              <a:gd name="T71" fmla="*/ 403 h 443"/>
              <a:gd name="T72" fmla="*/ 92 w 571"/>
              <a:gd name="T73" fmla="*/ 426 h 443"/>
              <a:gd name="T74" fmla="*/ 67 w 571"/>
              <a:gd name="T75" fmla="*/ 443 h 443"/>
              <a:gd name="T76" fmla="*/ 50 w 571"/>
              <a:gd name="T77" fmla="*/ 378 h 443"/>
              <a:gd name="T78" fmla="*/ 33 w 571"/>
              <a:gd name="T79" fmla="*/ 313 h 443"/>
              <a:gd name="T80" fmla="*/ 16 w 571"/>
              <a:gd name="T81" fmla="*/ 251 h 443"/>
              <a:gd name="T82" fmla="*/ 0 w 571"/>
              <a:gd name="T83" fmla="*/ 196 h 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06" name="Freeform 258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>
              <a:gd name="T0" fmla="*/ 0 w 286"/>
              <a:gd name="T1" fmla="*/ 111 h 228"/>
              <a:gd name="T2" fmla="*/ 4 w 286"/>
              <a:gd name="T3" fmla="*/ 109 h 228"/>
              <a:gd name="T4" fmla="*/ 7 w 286"/>
              <a:gd name="T5" fmla="*/ 109 h 228"/>
              <a:gd name="T6" fmla="*/ 10 w 286"/>
              <a:gd name="T7" fmla="*/ 110 h 228"/>
              <a:gd name="T8" fmla="*/ 11 w 286"/>
              <a:gd name="T9" fmla="*/ 111 h 228"/>
              <a:gd name="T10" fmla="*/ 12 w 286"/>
              <a:gd name="T11" fmla="*/ 117 h 228"/>
              <a:gd name="T12" fmla="*/ 13 w 286"/>
              <a:gd name="T13" fmla="*/ 123 h 228"/>
              <a:gd name="T14" fmla="*/ 14 w 286"/>
              <a:gd name="T15" fmla="*/ 128 h 228"/>
              <a:gd name="T16" fmla="*/ 16 w 286"/>
              <a:gd name="T17" fmla="*/ 131 h 228"/>
              <a:gd name="T18" fmla="*/ 19 w 286"/>
              <a:gd name="T19" fmla="*/ 134 h 228"/>
              <a:gd name="T20" fmla="*/ 24 w 286"/>
              <a:gd name="T21" fmla="*/ 136 h 228"/>
              <a:gd name="T22" fmla="*/ 29 w 286"/>
              <a:gd name="T23" fmla="*/ 137 h 228"/>
              <a:gd name="T24" fmla="*/ 37 w 286"/>
              <a:gd name="T25" fmla="*/ 138 h 228"/>
              <a:gd name="T26" fmla="*/ 48 w 286"/>
              <a:gd name="T27" fmla="*/ 138 h 228"/>
              <a:gd name="T28" fmla="*/ 60 w 286"/>
              <a:gd name="T29" fmla="*/ 136 h 228"/>
              <a:gd name="T30" fmla="*/ 98 w 286"/>
              <a:gd name="T31" fmla="*/ 130 h 228"/>
              <a:gd name="T32" fmla="*/ 129 w 286"/>
              <a:gd name="T33" fmla="*/ 122 h 228"/>
              <a:gd name="T34" fmla="*/ 143 w 286"/>
              <a:gd name="T35" fmla="*/ 118 h 228"/>
              <a:gd name="T36" fmla="*/ 156 w 286"/>
              <a:gd name="T37" fmla="*/ 114 h 228"/>
              <a:gd name="T38" fmla="*/ 167 w 286"/>
              <a:gd name="T39" fmla="*/ 109 h 228"/>
              <a:gd name="T40" fmla="*/ 178 w 286"/>
              <a:gd name="T41" fmla="*/ 103 h 228"/>
              <a:gd name="T42" fmla="*/ 188 w 286"/>
              <a:gd name="T43" fmla="*/ 96 h 228"/>
              <a:gd name="T44" fmla="*/ 198 w 286"/>
              <a:gd name="T45" fmla="*/ 87 h 228"/>
              <a:gd name="T46" fmla="*/ 208 w 286"/>
              <a:gd name="T47" fmla="*/ 78 h 228"/>
              <a:gd name="T48" fmla="*/ 219 w 286"/>
              <a:gd name="T49" fmla="*/ 65 h 228"/>
              <a:gd name="T50" fmla="*/ 229 w 286"/>
              <a:gd name="T51" fmla="*/ 52 h 228"/>
              <a:gd name="T52" fmla="*/ 241 w 286"/>
              <a:gd name="T53" fmla="*/ 37 h 228"/>
              <a:gd name="T54" fmla="*/ 253 w 286"/>
              <a:gd name="T55" fmla="*/ 20 h 228"/>
              <a:gd name="T56" fmla="*/ 266 w 286"/>
              <a:gd name="T57" fmla="*/ 0 h 228"/>
              <a:gd name="T58" fmla="*/ 270 w 286"/>
              <a:gd name="T59" fmla="*/ 7 h 228"/>
              <a:gd name="T60" fmla="*/ 274 w 286"/>
              <a:gd name="T61" fmla="*/ 13 h 228"/>
              <a:gd name="T62" fmla="*/ 276 w 286"/>
              <a:gd name="T63" fmla="*/ 20 h 228"/>
              <a:gd name="T64" fmla="*/ 279 w 286"/>
              <a:gd name="T65" fmla="*/ 27 h 228"/>
              <a:gd name="T66" fmla="*/ 282 w 286"/>
              <a:gd name="T67" fmla="*/ 42 h 228"/>
              <a:gd name="T68" fmla="*/ 286 w 286"/>
              <a:gd name="T69" fmla="*/ 62 h 228"/>
              <a:gd name="T70" fmla="*/ 246 w 286"/>
              <a:gd name="T71" fmla="*/ 198 h 228"/>
              <a:gd name="T72" fmla="*/ 226 w 286"/>
              <a:gd name="T73" fmla="*/ 228 h 228"/>
              <a:gd name="T74" fmla="*/ 53 w 286"/>
              <a:gd name="T75" fmla="*/ 210 h 228"/>
              <a:gd name="T76" fmla="*/ 0 w 286"/>
              <a:gd name="T77" fmla="*/ 111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07" name="Freeform 259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>
              <a:gd name="T0" fmla="*/ 478 w 524"/>
              <a:gd name="T1" fmla="*/ 370 h 505"/>
              <a:gd name="T2" fmla="*/ 484 w 524"/>
              <a:gd name="T3" fmla="*/ 346 h 505"/>
              <a:gd name="T4" fmla="*/ 483 w 524"/>
              <a:gd name="T5" fmla="*/ 329 h 505"/>
              <a:gd name="T6" fmla="*/ 478 w 524"/>
              <a:gd name="T7" fmla="*/ 302 h 505"/>
              <a:gd name="T8" fmla="*/ 455 w 524"/>
              <a:gd name="T9" fmla="*/ 299 h 505"/>
              <a:gd name="T10" fmla="*/ 431 w 524"/>
              <a:gd name="T11" fmla="*/ 288 h 505"/>
              <a:gd name="T12" fmla="*/ 407 w 524"/>
              <a:gd name="T13" fmla="*/ 274 h 505"/>
              <a:gd name="T14" fmla="*/ 386 w 524"/>
              <a:gd name="T15" fmla="*/ 256 h 505"/>
              <a:gd name="T16" fmla="*/ 366 w 524"/>
              <a:gd name="T17" fmla="*/ 237 h 505"/>
              <a:gd name="T18" fmla="*/ 352 w 524"/>
              <a:gd name="T19" fmla="*/ 216 h 505"/>
              <a:gd name="T20" fmla="*/ 342 w 524"/>
              <a:gd name="T21" fmla="*/ 196 h 505"/>
              <a:gd name="T22" fmla="*/ 339 w 524"/>
              <a:gd name="T23" fmla="*/ 178 h 505"/>
              <a:gd name="T24" fmla="*/ 341 w 524"/>
              <a:gd name="T25" fmla="*/ 162 h 505"/>
              <a:gd name="T26" fmla="*/ 349 w 524"/>
              <a:gd name="T27" fmla="*/ 150 h 505"/>
              <a:gd name="T28" fmla="*/ 365 w 524"/>
              <a:gd name="T29" fmla="*/ 136 h 505"/>
              <a:gd name="T30" fmla="*/ 354 w 524"/>
              <a:gd name="T31" fmla="*/ 130 h 505"/>
              <a:gd name="T32" fmla="*/ 341 w 524"/>
              <a:gd name="T33" fmla="*/ 119 h 505"/>
              <a:gd name="T34" fmla="*/ 315 w 524"/>
              <a:gd name="T35" fmla="*/ 87 h 505"/>
              <a:gd name="T36" fmla="*/ 292 w 524"/>
              <a:gd name="T37" fmla="*/ 51 h 505"/>
              <a:gd name="T38" fmla="*/ 279 w 524"/>
              <a:gd name="T39" fmla="*/ 25 h 505"/>
              <a:gd name="T40" fmla="*/ 260 w 524"/>
              <a:gd name="T41" fmla="*/ 24 h 505"/>
              <a:gd name="T42" fmla="*/ 239 w 524"/>
              <a:gd name="T43" fmla="*/ 19 h 505"/>
              <a:gd name="T44" fmla="*/ 219 w 524"/>
              <a:gd name="T45" fmla="*/ 11 h 505"/>
              <a:gd name="T46" fmla="*/ 197 w 524"/>
              <a:gd name="T47" fmla="*/ 6 h 505"/>
              <a:gd name="T48" fmla="*/ 170 w 524"/>
              <a:gd name="T49" fmla="*/ 3 h 505"/>
              <a:gd name="T50" fmla="*/ 149 w 524"/>
              <a:gd name="T51" fmla="*/ 8 h 505"/>
              <a:gd name="T52" fmla="*/ 114 w 524"/>
              <a:gd name="T53" fmla="*/ 41 h 505"/>
              <a:gd name="T54" fmla="*/ 98 w 524"/>
              <a:gd name="T55" fmla="*/ 57 h 505"/>
              <a:gd name="T56" fmla="*/ 93 w 524"/>
              <a:gd name="T57" fmla="*/ 64 h 505"/>
              <a:gd name="T58" fmla="*/ 94 w 524"/>
              <a:gd name="T59" fmla="*/ 94 h 505"/>
              <a:gd name="T60" fmla="*/ 95 w 524"/>
              <a:gd name="T61" fmla="*/ 140 h 505"/>
              <a:gd name="T62" fmla="*/ 94 w 524"/>
              <a:gd name="T63" fmla="*/ 164 h 505"/>
              <a:gd name="T64" fmla="*/ 86 w 524"/>
              <a:gd name="T65" fmla="*/ 180 h 505"/>
              <a:gd name="T66" fmla="*/ 67 w 524"/>
              <a:gd name="T67" fmla="*/ 197 h 505"/>
              <a:gd name="T68" fmla="*/ 40 w 524"/>
              <a:gd name="T69" fmla="*/ 214 h 505"/>
              <a:gd name="T70" fmla="*/ 13 w 524"/>
              <a:gd name="T71" fmla="*/ 228 h 505"/>
              <a:gd name="T72" fmla="*/ 2 w 524"/>
              <a:gd name="T73" fmla="*/ 246 h 505"/>
              <a:gd name="T74" fmla="*/ 2 w 524"/>
              <a:gd name="T75" fmla="*/ 264 h 505"/>
              <a:gd name="T76" fmla="*/ 0 w 524"/>
              <a:gd name="T77" fmla="*/ 278 h 505"/>
              <a:gd name="T78" fmla="*/ 0 w 524"/>
              <a:gd name="T79" fmla="*/ 289 h 505"/>
              <a:gd name="T80" fmla="*/ 7 w 524"/>
              <a:gd name="T81" fmla="*/ 301 h 505"/>
              <a:gd name="T82" fmla="*/ 26 w 524"/>
              <a:gd name="T83" fmla="*/ 314 h 505"/>
              <a:gd name="T84" fmla="*/ 62 w 524"/>
              <a:gd name="T85" fmla="*/ 331 h 505"/>
              <a:gd name="T86" fmla="*/ 120 w 524"/>
              <a:gd name="T87" fmla="*/ 355 h 505"/>
              <a:gd name="T88" fmla="*/ 180 w 524"/>
              <a:gd name="T89" fmla="*/ 374 h 505"/>
              <a:gd name="T90" fmla="*/ 214 w 524"/>
              <a:gd name="T91" fmla="*/ 385 h 505"/>
              <a:gd name="T92" fmla="*/ 237 w 524"/>
              <a:gd name="T93" fmla="*/ 400 h 505"/>
              <a:gd name="T94" fmla="*/ 252 w 524"/>
              <a:gd name="T95" fmla="*/ 418 h 505"/>
              <a:gd name="T96" fmla="*/ 262 w 524"/>
              <a:gd name="T97" fmla="*/ 435 h 505"/>
              <a:gd name="T98" fmla="*/ 266 w 524"/>
              <a:gd name="T99" fmla="*/ 451 h 505"/>
              <a:gd name="T100" fmla="*/ 270 w 524"/>
              <a:gd name="T101" fmla="*/ 469 h 505"/>
              <a:gd name="T102" fmla="*/ 277 w 524"/>
              <a:gd name="T103" fmla="*/ 481 h 505"/>
              <a:gd name="T104" fmla="*/ 287 w 524"/>
              <a:gd name="T105" fmla="*/ 489 h 505"/>
              <a:gd name="T106" fmla="*/ 307 w 524"/>
              <a:gd name="T107" fmla="*/ 497 h 505"/>
              <a:gd name="T108" fmla="*/ 328 w 524"/>
              <a:gd name="T109" fmla="*/ 503 h 505"/>
              <a:gd name="T110" fmla="*/ 335 w 524"/>
              <a:gd name="T111" fmla="*/ 500 h 505"/>
              <a:gd name="T112" fmla="*/ 346 w 524"/>
              <a:gd name="T113" fmla="*/ 499 h 505"/>
              <a:gd name="T114" fmla="*/ 366 w 524"/>
              <a:gd name="T115" fmla="*/ 503 h 505"/>
              <a:gd name="T116" fmla="*/ 383 w 524"/>
              <a:gd name="T117" fmla="*/ 505 h 505"/>
              <a:gd name="T118" fmla="*/ 437 w 524"/>
              <a:gd name="T119" fmla="*/ 505 h 505"/>
              <a:gd name="T120" fmla="*/ 465 w 524"/>
              <a:gd name="T121" fmla="*/ 449 h 505"/>
              <a:gd name="T122" fmla="*/ 492 w 524"/>
              <a:gd name="T123" fmla="*/ 437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08" name="Freeform 260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>
              <a:gd name="T0" fmla="*/ 62 w 764"/>
              <a:gd name="T1" fmla="*/ 196 h 555"/>
              <a:gd name="T2" fmla="*/ 93 w 764"/>
              <a:gd name="T3" fmla="*/ 190 h 555"/>
              <a:gd name="T4" fmla="*/ 128 w 764"/>
              <a:gd name="T5" fmla="*/ 182 h 555"/>
              <a:gd name="T6" fmla="*/ 175 w 764"/>
              <a:gd name="T7" fmla="*/ 151 h 555"/>
              <a:gd name="T8" fmla="*/ 194 w 764"/>
              <a:gd name="T9" fmla="*/ 126 h 555"/>
              <a:gd name="T10" fmla="*/ 199 w 764"/>
              <a:gd name="T11" fmla="*/ 88 h 555"/>
              <a:gd name="T12" fmla="*/ 208 w 764"/>
              <a:gd name="T13" fmla="*/ 69 h 555"/>
              <a:gd name="T14" fmla="*/ 240 w 764"/>
              <a:gd name="T15" fmla="*/ 60 h 555"/>
              <a:gd name="T16" fmla="*/ 294 w 764"/>
              <a:gd name="T17" fmla="*/ 62 h 555"/>
              <a:gd name="T18" fmla="*/ 329 w 764"/>
              <a:gd name="T19" fmla="*/ 71 h 555"/>
              <a:gd name="T20" fmla="*/ 362 w 764"/>
              <a:gd name="T21" fmla="*/ 90 h 555"/>
              <a:gd name="T22" fmla="*/ 386 w 764"/>
              <a:gd name="T23" fmla="*/ 93 h 555"/>
              <a:gd name="T24" fmla="*/ 419 w 764"/>
              <a:gd name="T25" fmla="*/ 84 h 555"/>
              <a:gd name="T26" fmla="*/ 460 w 764"/>
              <a:gd name="T27" fmla="*/ 61 h 555"/>
              <a:gd name="T28" fmla="*/ 479 w 764"/>
              <a:gd name="T29" fmla="*/ 33 h 555"/>
              <a:gd name="T30" fmla="*/ 508 w 764"/>
              <a:gd name="T31" fmla="*/ 4 h 555"/>
              <a:gd name="T32" fmla="*/ 530 w 764"/>
              <a:gd name="T33" fmla="*/ 19 h 555"/>
              <a:gd name="T34" fmla="*/ 550 w 764"/>
              <a:gd name="T35" fmla="*/ 45 h 555"/>
              <a:gd name="T36" fmla="*/ 561 w 764"/>
              <a:gd name="T37" fmla="*/ 87 h 555"/>
              <a:gd name="T38" fmla="*/ 570 w 764"/>
              <a:gd name="T39" fmla="*/ 101 h 555"/>
              <a:gd name="T40" fmla="*/ 589 w 764"/>
              <a:gd name="T41" fmla="*/ 104 h 555"/>
              <a:gd name="T42" fmla="*/ 622 w 764"/>
              <a:gd name="T43" fmla="*/ 73 h 555"/>
              <a:gd name="T44" fmla="*/ 743 w 764"/>
              <a:gd name="T45" fmla="*/ 66 h 555"/>
              <a:gd name="T46" fmla="*/ 759 w 764"/>
              <a:gd name="T47" fmla="*/ 87 h 555"/>
              <a:gd name="T48" fmla="*/ 679 w 764"/>
              <a:gd name="T49" fmla="*/ 100 h 555"/>
              <a:gd name="T50" fmla="*/ 605 w 764"/>
              <a:gd name="T51" fmla="*/ 112 h 555"/>
              <a:gd name="T52" fmla="*/ 574 w 764"/>
              <a:gd name="T53" fmla="*/ 130 h 555"/>
              <a:gd name="T54" fmla="*/ 571 w 764"/>
              <a:gd name="T55" fmla="*/ 147 h 555"/>
              <a:gd name="T56" fmla="*/ 582 w 764"/>
              <a:gd name="T57" fmla="*/ 164 h 555"/>
              <a:gd name="T58" fmla="*/ 601 w 764"/>
              <a:gd name="T59" fmla="*/ 180 h 555"/>
              <a:gd name="T60" fmla="*/ 604 w 764"/>
              <a:gd name="T61" fmla="*/ 195 h 555"/>
              <a:gd name="T62" fmla="*/ 594 w 764"/>
              <a:gd name="T63" fmla="*/ 213 h 555"/>
              <a:gd name="T64" fmla="*/ 574 w 764"/>
              <a:gd name="T65" fmla="*/ 237 h 555"/>
              <a:gd name="T66" fmla="*/ 565 w 764"/>
              <a:gd name="T67" fmla="*/ 255 h 555"/>
              <a:gd name="T68" fmla="*/ 542 w 764"/>
              <a:gd name="T69" fmla="*/ 269 h 555"/>
              <a:gd name="T70" fmla="*/ 519 w 764"/>
              <a:gd name="T71" fmla="*/ 310 h 555"/>
              <a:gd name="T72" fmla="*/ 508 w 764"/>
              <a:gd name="T73" fmla="*/ 363 h 555"/>
              <a:gd name="T74" fmla="*/ 497 w 764"/>
              <a:gd name="T75" fmla="*/ 425 h 555"/>
              <a:gd name="T76" fmla="*/ 477 w 764"/>
              <a:gd name="T77" fmla="*/ 412 h 555"/>
              <a:gd name="T78" fmla="*/ 460 w 764"/>
              <a:gd name="T79" fmla="*/ 407 h 555"/>
              <a:gd name="T80" fmla="*/ 439 w 764"/>
              <a:gd name="T81" fmla="*/ 418 h 555"/>
              <a:gd name="T82" fmla="*/ 411 w 764"/>
              <a:gd name="T83" fmla="*/ 440 h 555"/>
              <a:gd name="T84" fmla="*/ 393 w 764"/>
              <a:gd name="T85" fmla="*/ 444 h 555"/>
              <a:gd name="T86" fmla="*/ 375 w 764"/>
              <a:gd name="T87" fmla="*/ 463 h 555"/>
              <a:gd name="T88" fmla="*/ 365 w 764"/>
              <a:gd name="T89" fmla="*/ 511 h 555"/>
              <a:gd name="T90" fmla="*/ 350 w 764"/>
              <a:gd name="T91" fmla="*/ 525 h 555"/>
              <a:gd name="T92" fmla="*/ 270 w 764"/>
              <a:gd name="T93" fmla="*/ 546 h 555"/>
              <a:gd name="T94" fmla="*/ 194 w 764"/>
              <a:gd name="T95" fmla="*/ 554 h 555"/>
              <a:gd name="T96" fmla="*/ 113 w 764"/>
              <a:gd name="T97" fmla="*/ 542 h 555"/>
              <a:gd name="T98" fmla="*/ 95 w 764"/>
              <a:gd name="T99" fmla="*/ 518 h 555"/>
              <a:gd name="T100" fmla="*/ 115 w 764"/>
              <a:gd name="T101" fmla="*/ 488 h 555"/>
              <a:gd name="T102" fmla="*/ 125 w 764"/>
              <a:gd name="T103" fmla="*/ 462 h 555"/>
              <a:gd name="T104" fmla="*/ 123 w 764"/>
              <a:gd name="T105" fmla="*/ 442 h 555"/>
              <a:gd name="T106" fmla="*/ 111 w 764"/>
              <a:gd name="T107" fmla="*/ 433 h 555"/>
              <a:gd name="T108" fmla="*/ 69 w 764"/>
              <a:gd name="T109" fmla="*/ 431 h 555"/>
              <a:gd name="T110" fmla="*/ 52 w 764"/>
              <a:gd name="T111" fmla="*/ 421 h 555"/>
              <a:gd name="T112" fmla="*/ 34 w 764"/>
              <a:gd name="T113" fmla="*/ 384 h 555"/>
              <a:gd name="T114" fmla="*/ 19 w 764"/>
              <a:gd name="T115" fmla="*/ 309 h 555"/>
              <a:gd name="T116" fmla="*/ 10 w 764"/>
              <a:gd name="T117" fmla="*/ 291 h 555"/>
              <a:gd name="T118" fmla="*/ 0 w 764"/>
              <a:gd name="T119" fmla="*/ 280 h 555"/>
              <a:gd name="T120" fmla="*/ 2 w 764"/>
              <a:gd name="T121" fmla="*/ 268 h 555"/>
              <a:gd name="T122" fmla="*/ 22 w 764"/>
              <a:gd name="T123" fmla="*/ 248 h 555"/>
              <a:gd name="T124" fmla="*/ 34 w 764"/>
              <a:gd name="T125" fmla="*/ 221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09" name="Freeform 261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>
              <a:gd name="T0" fmla="*/ 779 w 831"/>
              <a:gd name="T1" fmla="*/ 82 h 812"/>
              <a:gd name="T2" fmla="*/ 707 w 831"/>
              <a:gd name="T3" fmla="*/ 29 h 812"/>
              <a:gd name="T4" fmla="*/ 562 w 831"/>
              <a:gd name="T5" fmla="*/ 10 h 812"/>
              <a:gd name="T6" fmla="*/ 499 w 831"/>
              <a:gd name="T7" fmla="*/ 29 h 812"/>
              <a:gd name="T8" fmla="*/ 486 w 831"/>
              <a:gd name="T9" fmla="*/ 49 h 812"/>
              <a:gd name="T10" fmla="*/ 497 w 831"/>
              <a:gd name="T11" fmla="*/ 71 h 812"/>
              <a:gd name="T12" fmla="*/ 517 w 831"/>
              <a:gd name="T13" fmla="*/ 90 h 812"/>
              <a:gd name="T14" fmla="*/ 516 w 831"/>
              <a:gd name="T15" fmla="*/ 111 h 812"/>
              <a:gd name="T16" fmla="*/ 491 w 831"/>
              <a:gd name="T17" fmla="*/ 140 h 812"/>
              <a:gd name="T18" fmla="*/ 480 w 831"/>
              <a:gd name="T19" fmla="*/ 162 h 812"/>
              <a:gd name="T20" fmla="*/ 450 w 831"/>
              <a:gd name="T21" fmla="*/ 184 h 812"/>
              <a:gd name="T22" fmla="*/ 427 w 831"/>
              <a:gd name="T23" fmla="*/ 243 h 812"/>
              <a:gd name="T24" fmla="*/ 420 w 831"/>
              <a:gd name="T25" fmla="*/ 332 h 812"/>
              <a:gd name="T26" fmla="*/ 392 w 831"/>
              <a:gd name="T27" fmla="*/ 319 h 812"/>
              <a:gd name="T28" fmla="*/ 370 w 831"/>
              <a:gd name="T29" fmla="*/ 315 h 812"/>
              <a:gd name="T30" fmla="*/ 338 w 831"/>
              <a:gd name="T31" fmla="*/ 339 h 812"/>
              <a:gd name="T32" fmla="*/ 313 w 831"/>
              <a:gd name="T33" fmla="*/ 351 h 812"/>
              <a:gd name="T34" fmla="*/ 290 w 831"/>
              <a:gd name="T35" fmla="*/ 370 h 812"/>
              <a:gd name="T36" fmla="*/ 280 w 831"/>
              <a:gd name="T37" fmla="*/ 424 h 812"/>
              <a:gd name="T38" fmla="*/ 235 w 831"/>
              <a:gd name="T39" fmla="*/ 442 h 812"/>
              <a:gd name="T40" fmla="*/ 127 w 831"/>
              <a:gd name="T41" fmla="*/ 462 h 812"/>
              <a:gd name="T42" fmla="*/ 26 w 831"/>
              <a:gd name="T43" fmla="*/ 449 h 812"/>
              <a:gd name="T44" fmla="*/ 51 w 831"/>
              <a:gd name="T45" fmla="*/ 505 h 812"/>
              <a:gd name="T46" fmla="*/ 96 w 831"/>
              <a:gd name="T47" fmla="*/ 540 h 812"/>
              <a:gd name="T48" fmla="*/ 123 w 831"/>
              <a:gd name="T49" fmla="*/ 577 h 812"/>
              <a:gd name="T50" fmla="*/ 142 w 831"/>
              <a:gd name="T51" fmla="*/ 596 h 812"/>
              <a:gd name="T52" fmla="*/ 99 w 831"/>
              <a:gd name="T53" fmla="*/ 647 h 812"/>
              <a:gd name="T54" fmla="*/ 87 w 831"/>
              <a:gd name="T55" fmla="*/ 671 h 812"/>
              <a:gd name="T56" fmla="*/ 109 w 831"/>
              <a:gd name="T57" fmla="*/ 720 h 812"/>
              <a:gd name="T58" fmla="*/ 222 w 831"/>
              <a:gd name="T59" fmla="*/ 710 h 812"/>
              <a:gd name="T60" fmla="*/ 302 w 831"/>
              <a:gd name="T61" fmla="*/ 705 h 812"/>
              <a:gd name="T62" fmla="*/ 330 w 831"/>
              <a:gd name="T63" fmla="*/ 721 h 812"/>
              <a:gd name="T64" fmla="*/ 359 w 831"/>
              <a:gd name="T65" fmla="*/ 756 h 812"/>
              <a:gd name="T66" fmla="*/ 408 w 831"/>
              <a:gd name="T67" fmla="*/ 785 h 812"/>
              <a:gd name="T68" fmla="*/ 449 w 831"/>
              <a:gd name="T69" fmla="*/ 803 h 812"/>
              <a:gd name="T70" fmla="*/ 460 w 831"/>
              <a:gd name="T71" fmla="*/ 791 h 812"/>
              <a:gd name="T72" fmla="*/ 487 w 831"/>
              <a:gd name="T73" fmla="*/ 774 h 812"/>
              <a:gd name="T74" fmla="*/ 554 w 831"/>
              <a:gd name="T75" fmla="*/ 764 h 812"/>
              <a:gd name="T76" fmla="*/ 597 w 831"/>
              <a:gd name="T77" fmla="*/ 750 h 812"/>
              <a:gd name="T78" fmla="*/ 618 w 831"/>
              <a:gd name="T79" fmla="*/ 727 h 812"/>
              <a:gd name="T80" fmla="*/ 584 w 831"/>
              <a:gd name="T81" fmla="*/ 700 h 812"/>
              <a:gd name="T82" fmla="*/ 542 w 831"/>
              <a:gd name="T83" fmla="*/ 641 h 812"/>
              <a:gd name="T84" fmla="*/ 526 w 831"/>
              <a:gd name="T85" fmla="*/ 624 h 812"/>
              <a:gd name="T86" fmla="*/ 526 w 831"/>
              <a:gd name="T87" fmla="*/ 578 h 812"/>
              <a:gd name="T88" fmla="*/ 582 w 831"/>
              <a:gd name="T89" fmla="*/ 563 h 812"/>
              <a:gd name="T90" fmla="*/ 622 w 831"/>
              <a:gd name="T91" fmla="*/ 531 h 812"/>
              <a:gd name="T92" fmla="*/ 688 w 831"/>
              <a:gd name="T93" fmla="*/ 417 h 812"/>
              <a:gd name="T94" fmla="*/ 730 w 831"/>
              <a:gd name="T95" fmla="*/ 368 h 812"/>
              <a:gd name="T96" fmla="*/ 725 w 831"/>
              <a:gd name="T97" fmla="*/ 330 h 812"/>
              <a:gd name="T98" fmla="*/ 729 w 831"/>
              <a:gd name="T99" fmla="*/ 305 h 812"/>
              <a:gd name="T100" fmla="*/ 751 w 831"/>
              <a:gd name="T101" fmla="*/ 289 h 812"/>
              <a:gd name="T102" fmla="*/ 670 w 831"/>
              <a:gd name="T103" fmla="*/ 207 h 812"/>
              <a:gd name="T104" fmla="*/ 758 w 831"/>
              <a:gd name="T105" fmla="*/ 140 h 812"/>
              <a:gd name="T106" fmla="*/ 805 w 831"/>
              <a:gd name="T107" fmla="*/ 123 h 8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10" name="Freeform 262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>
              <a:gd name="T0" fmla="*/ 438 w 505"/>
              <a:gd name="T1" fmla="*/ 1067 h 1121"/>
              <a:gd name="T2" fmla="*/ 443 w 505"/>
              <a:gd name="T3" fmla="*/ 1028 h 1121"/>
              <a:gd name="T4" fmla="*/ 399 w 505"/>
              <a:gd name="T5" fmla="*/ 1022 h 1121"/>
              <a:gd name="T6" fmla="*/ 405 w 505"/>
              <a:gd name="T7" fmla="*/ 957 h 1121"/>
              <a:gd name="T8" fmla="*/ 419 w 505"/>
              <a:gd name="T9" fmla="*/ 931 h 1121"/>
              <a:gd name="T10" fmla="*/ 413 w 505"/>
              <a:gd name="T11" fmla="*/ 899 h 1121"/>
              <a:gd name="T12" fmla="*/ 398 w 505"/>
              <a:gd name="T13" fmla="*/ 893 h 1121"/>
              <a:gd name="T14" fmla="*/ 382 w 505"/>
              <a:gd name="T15" fmla="*/ 838 h 1121"/>
              <a:gd name="T16" fmla="*/ 324 w 505"/>
              <a:gd name="T17" fmla="*/ 719 h 1121"/>
              <a:gd name="T18" fmla="*/ 296 w 505"/>
              <a:gd name="T19" fmla="*/ 703 h 1121"/>
              <a:gd name="T20" fmla="*/ 282 w 505"/>
              <a:gd name="T21" fmla="*/ 718 h 1121"/>
              <a:gd name="T22" fmla="*/ 226 w 505"/>
              <a:gd name="T23" fmla="*/ 742 h 1121"/>
              <a:gd name="T24" fmla="*/ 169 w 505"/>
              <a:gd name="T25" fmla="*/ 736 h 1121"/>
              <a:gd name="T26" fmla="*/ 133 w 505"/>
              <a:gd name="T27" fmla="*/ 567 h 1121"/>
              <a:gd name="T28" fmla="*/ 101 w 505"/>
              <a:gd name="T29" fmla="*/ 520 h 1121"/>
              <a:gd name="T30" fmla="*/ 51 w 505"/>
              <a:gd name="T31" fmla="*/ 502 h 1121"/>
              <a:gd name="T32" fmla="*/ 8 w 505"/>
              <a:gd name="T33" fmla="*/ 471 h 1121"/>
              <a:gd name="T34" fmla="*/ 23 w 505"/>
              <a:gd name="T35" fmla="*/ 445 h 1121"/>
              <a:gd name="T36" fmla="*/ 58 w 505"/>
              <a:gd name="T37" fmla="*/ 361 h 1121"/>
              <a:gd name="T38" fmla="*/ 67 w 505"/>
              <a:gd name="T39" fmla="*/ 277 h 1121"/>
              <a:gd name="T40" fmla="*/ 80 w 505"/>
              <a:gd name="T41" fmla="*/ 265 h 1121"/>
              <a:gd name="T42" fmla="*/ 113 w 505"/>
              <a:gd name="T43" fmla="*/ 258 h 1121"/>
              <a:gd name="T44" fmla="*/ 134 w 505"/>
              <a:gd name="T45" fmla="*/ 222 h 1121"/>
              <a:gd name="T46" fmla="*/ 140 w 505"/>
              <a:gd name="T47" fmla="*/ 117 h 1121"/>
              <a:gd name="T48" fmla="*/ 159 w 505"/>
              <a:gd name="T49" fmla="*/ 98 h 1121"/>
              <a:gd name="T50" fmla="*/ 213 w 505"/>
              <a:gd name="T51" fmla="*/ 74 h 1121"/>
              <a:gd name="T52" fmla="*/ 234 w 505"/>
              <a:gd name="T53" fmla="*/ 21 h 1121"/>
              <a:gd name="T54" fmla="*/ 277 w 505"/>
              <a:gd name="T55" fmla="*/ 31 h 1121"/>
              <a:gd name="T56" fmla="*/ 312 w 505"/>
              <a:gd name="T57" fmla="*/ 49 h 1121"/>
              <a:gd name="T58" fmla="*/ 337 w 505"/>
              <a:gd name="T59" fmla="*/ 122 h 1121"/>
              <a:gd name="T60" fmla="*/ 335 w 505"/>
              <a:gd name="T61" fmla="*/ 167 h 1121"/>
              <a:gd name="T62" fmla="*/ 300 w 505"/>
              <a:gd name="T63" fmla="*/ 216 h 1121"/>
              <a:gd name="T64" fmla="*/ 293 w 505"/>
              <a:gd name="T65" fmla="*/ 245 h 1121"/>
              <a:gd name="T66" fmla="*/ 309 w 505"/>
              <a:gd name="T67" fmla="*/ 261 h 1121"/>
              <a:gd name="T68" fmla="*/ 346 w 505"/>
              <a:gd name="T69" fmla="*/ 270 h 1121"/>
              <a:gd name="T70" fmla="*/ 371 w 505"/>
              <a:gd name="T71" fmla="*/ 291 h 1121"/>
              <a:gd name="T72" fmla="*/ 398 w 505"/>
              <a:gd name="T73" fmla="*/ 345 h 1121"/>
              <a:gd name="T74" fmla="*/ 430 w 505"/>
              <a:gd name="T75" fmla="*/ 400 h 1121"/>
              <a:gd name="T76" fmla="*/ 464 w 505"/>
              <a:gd name="T77" fmla="*/ 418 h 1121"/>
              <a:gd name="T78" fmla="*/ 505 w 505"/>
              <a:gd name="T79" fmla="*/ 418 h 1121"/>
              <a:gd name="T80" fmla="*/ 476 w 505"/>
              <a:gd name="T81" fmla="*/ 494 h 1121"/>
              <a:gd name="T82" fmla="*/ 427 w 505"/>
              <a:gd name="T83" fmla="*/ 510 h 1121"/>
              <a:gd name="T84" fmla="*/ 383 w 505"/>
              <a:gd name="T85" fmla="*/ 528 h 1121"/>
              <a:gd name="T86" fmla="*/ 360 w 505"/>
              <a:gd name="T87" fmla="*/ 572 h 1121"/>
              <a:gd name="T88" fmla="*/ 370 w 505"/>
              <a:gd name="T89" fmla="*/ 637 h 1121"/>
              <a:gd name="T90" fmla="*/ 402 w 505"/>
              <a:gd name="T91" fmla="*/ 683 h 1121"/>
              <a:gd name="T92" fmla="*/ 430 w 505"/>
              <a:gd name="T93" fmla="*/ 735 h 1121"/>
              <a:gd name="T94" fmla="*/ 428 w 505"/>
              <a:gd name="T95" fmla="*/ 776 h 1121"/>
              <a:gd name="T96" fmla="*/ 419 w 505"/>
              <a:gd name="T97" fmla="*/ 801 h 1121"/>
              <a:gd name="T98" fmla="*/ 435 w 505"/>
              <a:gd name="T99" fmla="*/ 851 h 1121"/>
              <a:gd name="T100" fmla="*/ 483 w 505"/>
              <a:gd name="T101" fmla="*/ 965 h 1121"/>
              <a:gd name="T102" fmla="*/ 458 w 505"/>
              <a:gd name="T103" fmla="*/ 1082 h 1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11" name="Freeform 263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>
              <a:gd name="T0" fmla="*/ 180 w 180"/>
              <a:gd name="T1" fmla="*/ 7 h 112"/>
              <a:gd name="T2" fmla="*/ 171 w 180"/>
              <a:gd name="T3" fmla="*/ 24 h 112"/>
              <a:gd name="T4" fmla="*/ 163 w 180"/>
              <a:gd name="T5" fmla="*/ 39 h 112"/>
              <a:gd name="T6" fmla="*/ 152 w 180"/>
              <a:gd name="T7" fmla="*/ 53 h 112"/>
              <a:gd name="T8" fmla="*/ 141 w 180"/>
              <a:gd name="T9" fmla="*/ 66 h 112"/>
              <a:gd name="T10" fmla="*/ 129 w 180"/>
              <a:gd name="T11" fmla="*/ 80 h 112"/>
              <a:gd name="T12" fmla="*/ 115 w 180"/>
              <a:gd name="T13" fmla="*/ 92 h 112"/>
              <a:gd name="T14" fmla="*/ 101 w 180"/>
              <a:gd name="T15" fmla="*/ 102 h 112"/>
              <a:gd name="T16" fmla="*/ 87 w 180"/>
              <a:gd name="T17" fmla="*/ 112 h 112"/>
              <a:gd name="T18" fmla="*/ 82 w 180"/>
              <a:gd name="T19" fmla="*/ 107 h 112"/>
              <a:gd name="T20" fmla="*/ 79 w 180"/>
              <a:gd name="T21" fmla="*/ 101 h 112"/>
              <a:gd name="T22" fmla="*/ 76 w 180"/>
              <a:gd name="T23" fmla="*/ 95 h 112"/>
              <a:gd name="T24" fmla="*/ 74 w 180"/>
              <a:gd name="T25" fmla="*/ 88 h 112"/>
              <a:gd name="T26" fmla="*/ 70 w 180"/>
              <a:gd name="T27" fmla="*/ 81 h 112"/>
              <a:gd name="T28" fmla="*/ 68 w 180"/>
              <a:gd name="T29" fmla="*/ 74 h 112"/>
              <a:gd name="T30" fmla="*/ 65 w 180"/>
              <a:gd name="T31" fmla="*/ 69 h 112"/>
              <a:gd name="T32" fmla="*/ 60 w 180"/>
              <a:gd name="T33" fmla="*/ 63 h 112"/>
              <a:gd name="T34" fmla="*/ 45 w 180"/>
              <a:gd name="T35" fmla="*/ 48 h 112"/>
              <a:gd name="T36" fmla="*/ 36 w 180"/>
              <a:gd name="T37" fmla="*/ 38 h 112"/>
              <a:gd name="T38" fmla="*/ 30 w 180"/>
              <a:gd name="T39" fmla="*/ 33 h 112"/>
              <a:gd name="T40" fmla="*/ 25 w 180"/>
              <a:gd name="T41" fmla="*/ 31 h 112"/>
              <a:gd name="T42" fmla="*/ 18 w 180"/>
              <a:gd name="T43" fmla="*/ 30 h 112"/>
              <a:gd name="T44" fmla="*/ 0 w 180"/>
              <a:gd name="T45" fmla="*/ 26 h 112"/>
              <a:gd name="T46" fmla="*/ 26 w 180"/>
              <a:gd name="T47" fmla="*/ 14 h 112"/>
              <a:gd name="T48" fmla="*/ 41 w 180"/>
              <a:gd name="T49" fmla="*/ 9 h 112"/>
              <a:gd name="T50" fmla="*/ 56 w 180"/>
              <a:gd name="T51" fmla="*/ 5 h 112"/>
              <a:gd name="T52" fmla="*/ 74 w 180"/>
              <a:gd name="T53" fmla="*/ 3 h 112"/>
              <a:gd name="T54" fmla="*/ 93 w 180"/>
              <a:gd name="T55" fmla="*/ 1 h 112"/>
              <a:gd name="T56" fmla="*/ 114 w 180"/>
              <a:gd name="T57" fmla="*/ 0 h 112"/>
              <a:gd name="T58" fmla="*/ 135 w 180"/>
              <a:gd name="T59" fmla="*/ 1 h 112"/>
              <a:gd name="T60" fmla="*/ 157 w 180"/>
              <a:gd name="T61" fmla="*/ 3 h 112"/>
              <a:gd name="T62" fmla="*/ 180 w 180"/>
              <a:gd name="T63" fmla="*/ 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12" name="Freeform 264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>
              <a:gd name="T0" fmla="*/ 0 w 173"/>
              <a:gd name="T1" fmla="*/ 68 h 192"/>
              <a:gd name="T2" fmla="*/ 27 w 173"/>
              <a:gd name="T3" fmla="*/ 42 h 192"/>
              <a:gd name="T4" fmla="*/ 51 w 173"/>
              <a:gd name="T5" fmla="*/ 21 h 192"/>
              <a:gd name="T6" fmla="*/ 56 w 173"/>
              <a:gd name="T7" fmla="*/ 16 h 192"/>
              <a:gd name="T8" fmla="*/ 63 w 173"/>
              <a:gd name="T9" fmla="*/ 12 h 192"/>
              <a:gd name="T10" fmla="*/ 70 w 173"/>
              <a:gd name="T11" fmla="*/ 8 h 192"/>
              <a:gd name="T12" fmla="*/ 76 w 173"/>
              <a:gd name="T13" fmla="*/ 6 h 192"/>
              <a:gd name="T14" fmla="*/ 83 w 173"/>
              <a:gd name="T15" fmla="*/ 3 h 192"/>
              <a:gd name="T16" fmla="*/ 90 w 173"/>
              <a:gd name="T17" fmla="*/ 2 h 192"/>
              <a:gd name="T18" fmla="*/ 98 w 173"/>
              <a:gd name="T19" fmla="*/ 1 h 192"/>
              <a:gd name="T20" fmla="*/ 107 w 173"/>
              <a:gd name="T21" fmla="*/ 0 h 192"/>
              <a:gd name="T22" fmla="*/ 116 w 173"/>
              <a:gd name="T23" fmla="*/ 1 h 192"/>
              <a:gd name="T24" fmla="*/ 124 w 173"/>
              <a:gd name="T25" fmla="*/ 2 h 192"/>
              <a:gd name="T26" fmla="*/ 132 w 173"/>
              <a:gd name="T27" fmla="*/ 5 h 192"/>
              <a:gd name="T28" fmla="*/ 139 w 173"/>
              <a:gd name="T29" fmla="*/ 8 h 192"/>
              <a:gd name="T30" fmla="*/ 145 w 173"/>
              <a:gd name="T31" fmla="*/ 13 h 192"/>
              <a:gd name="T32" fmla="*/ 151 w 173"/>
              <a:gd name="T33" fmla="*/ 19 h 192"/>
              <a:gd name="T34" fmla="*/ 155 w 173"/>
              <a:gd name="T35" fmla="*/ 24 h 192"/>
              <a:gd name="T36" fmla="*/ 160 w 173"/>
              <a:gd name="T37" fmla="*/ 30 h 192"/>
              <a:gd name="T38" fmla="*/ 163 w 173"/>
              <a:gd name="T39" fmla="*/ 37 h 192"/>
              <a:gd name="T40" fmla="*/ 166 w 173"/>
              <a:gd name="T41" fmla="*/ 43 h 192"/>
              <a:gd name="T42" fmla="*/ 168 w 173"/>
              <a:gd name="T43" fmla="*/ 50 h 192"/>
              <a:gd name="T44" fmla="*/ 169 w 173"/>
              <a:gd name="T45" fmla="*/ 57 h 192"/>
              <a:gd name="T46" fmla="*/ 172 w 173"/>
              <a:gd name="T47" fmla="*/ 72 h 192"/>
              <a:gd name="T48" fmla="*/ 173 w 173"/>
              <a:gd name="T49" fmla="*/ 87 h 192"/>
              <a:gd name="T50" fmla="*/ 157 w 173"/>
              <a:gd name="T51" fmla="*/ 114 h 192"/>
              <a:gd name="T52" fmla="*/ 146 w 173"/>
              <a:gd name="T53" fmla="*/ 137 h 192"/>
              <a:gd name="T54" fmla="*/ 139 w 173"/>
              <a:gd name="T55" fmla="*/ 148 h 192"/>
              <a:gd name="T56" fmla="*/ 130 w 173"/>
              <a:gd name="T57" fmla="*/ 160 h 192"/>
              <a:gd name="T58" fmla="*/ 117 w 173"/>
              <a:gd name="T59" fmla="*/ 174 h 192"/>
              <a:gd name="T60" fmla="*/ 99 w 173"/>
              <a:gd name="T61" fmla="*/ 192 h 192"/>
              <a:gd name="T62" fmla="*/ 86 w 173"/>
              <a:gd name="T63" fmla="*/ 183 h 192"/>
              <a:gd name="T64" fmla="*/ 74 w 173"/>
              <a:gd name="T65" fmla="*/ 176 h 192"/>
              <a:gd name="T66" fmla="*/ 63 w 173"/>
              <a:gd name="T67" fmla="*/ 169 h 192"/>
              <a:gd name="T68" fmla="*/ 54 w 173"/>
              <a:gd name="T69" fmla="*/ 163 h 192"/>
              <a:gd name="T70" fmla="*/ 46 w 173"/>
              <a:gd name="T71" fmla="*/ 156 h 192"/>
              <a:gd name="T72" fmla="*/ 40 w 173"/>
              <a:gd name="T73" fmla="*/ 150 h 192"/>
              <a:gd name="T74" fmla="*/ 34 w 173"/>
              <a:gd name="T75" fmla="*/ 144 h 192"/>
              <a:gd name="T76" fmla="*/ 30 w 173"/>
              <a:gd name="T77" fmla="*/ 137 h 192"/>
              <a:gd name="T78" fmla="*/ 22 w 173"/>
              <a:gd name="T79" fmla="*/ 123 h 192"/>
              <a:gd name="T80" fmla="*/ 16 w 173"/>
              <a:gd name="T81" fmla="*/ 107 h 192"/>
              <a:gd name="T82" fmla="*/ 9 w 173"/>
              <a:gd name="T83" fmla="*/ 90 h 192"/>
              <a:gd name="T84" fmla="*/ 0 w 173"/>
              <a:gd name="T85" fmla="*/ 68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13" name="Freeform 265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>
              <a:gd name="T0" fmla="*/ 74 w 233"/>
              <a:gd name="T1" fmla="*/ 0 h 252"/>
              <a:gd name="T2" fmla="*/ 83 w 233"/>
              <a:gd name="T3" fmla="*/ 2 h 252"/>
              <a:gd name="T4" fmla="*/ 89 w 233"/>
              <a:gd name="T5" fmla="*/ 3 h 252"/>
              <a:gd name="T6" fmla="*/ 95 w 233"/>
              <a:gd name="T7" fmla="*/ 3 h 252"/>
              <a:gd name="T8" fmla="*/ 99 w 233"/>
              <a:gd name="T9" fmla="*/ 2 h 252"/>
              <a:gd name="T10" fmla="*/ 106 w 233"/>
              <a:gd name="T11" fmla="*/ 1 h 252"/>
              <a:gd name="T12" fmla="*/ 113 w 233"/>
              <a:gd name="T13" fmla="*/ 0 h 252"/>
              <a:gd name="T14" fmla="*/ 125 w 233"/>
              <a:gd name="T15" fmla="*/ 17 h 252"/>
              <a:gd name="T16" fmla="*/ 140 w 233"/>
              <a:gd name="T17" fmla="*/ 37 h 252"/>
              <a:gd name="T18" fmla="*/ 144 w 233"/>
              <a:gd name="T19" fmla="*/ 42 h 252"/>
              <a:gd name="T20" fmla="*/ 148 w 233"/>
              <a:gd name="T21" fmla="*/ 46 h 252"/>
              <a:gd name="T22" fmla="*/ 153 w 233"/>
              <a:gd name="T23" fmla="*/ 49 h 252"/>
              <a:gd name="T24" fmla="*/ 157 w 233"/>
              <a:gd name="T25" fmla="*/ 52 h 252"/>
              <a:gd name="T26" fmla="*/ 163 w 233"/>
              <a:gd name="T27" fmla="*/ 54 h 252"/>
              <a:gd name="T28" fmla="*/ 168 w 233"/>
              <a:gd name="T29" fmla="*/ 56 h 252"/>
              <a:gd name="T30" fmla="*/ 174 w 233"/>
              <a:gd name="T31" fmla="*/ 56 h 252"/>
              <a:gd name="T32" fmla="*/ 180 w 233"/>
              <a:gd name="T33" fmla="*/ 56 h 252"/>
              <a:gd name="T34" fmla="*/ 180 w 233"/>
              <a:gd name="T35" fmla="*/ 80 h 252"/>
              <a:gd name="T36" fmla="*/ 193 w 233"/>
              <a:gd name="T37" fmla="*/ 103 h 252"/>
              <a:gd name="T38" fmla="*/ 212 w 233"/>
              <a:gd name="T39" fmla="*/ 128 h 252"/>
              <a:gd name="T40" fmla="*/ 215 w 233"/>
              <a:gd name="T41" fmla="*/ 135 h 252"/>
              <a:gd name="T42" fmla="*/ 220 w 233"/>
              <a:gd name="T43" fmla="*/ 142 h 252"/>
              <a:gd name="T44" fmla="*/ 223 w 233"/>
              <a:gd name="T45" fmla="*/ 151 h 252"/>
              <a:gd name="T46" fmla="*/ 226 w 233"/>
              <a:gd name="T47" fmla="*/ 160 h 252"/>
              <a:gd name="T48" fmla="*/ 230 w 233"/>
              <a:gd name="T49" fmla="*/ 170 h 252"/>
              <a:gd name="T50" fmla="*/ 232 w 233"/>
              <a:gd name="T51" fmla="*/ 180 h 252"/>
              <a:gd name="T52" fmla="*/ 233 w 233"/>
              <a:gd name="T53" fmla="*/ 191 h 252"/>
              <a:gd name="T54" fmla="*/ 233 w 233"/>
              <a:gd name="T55" fmla="*/ 204 h 252"/>
              <a:gd name="T56" fmla="*/ 232 w 233"/>
              <a:gd name="T57" fmla="*/ 216 h 252"/>
              <a:gd name="T58" fmla="*/ 230 w 233"/>
              <a:gd name="T59" fmla="*/ 228 h 252"/>
              <a:gd name="T60" fmla="*/ 227 w 233"/>
              <a:gd name="T61" fmla="*/ 240 h 252"/>
              <a:gd name="T62" fmla="*/ 226 w 233"/>
              <a:gd name="T63" fmla="*/ 252 h 252"/>
              <a:gd name="T64" fmla="*/ 222 w 233"/>
              <a:gd name="T65" fmla="*/ 252 h 252"/>
              <a:gd name="T66" fmla="*/ 215 w 233"/>
              <a:gd name="T67" fmla="*/ 250 h 252"/>
              <a:gd name="T68" fmla="*/ 208 w 233"/>
              <a:gd name="T69" fmla="*/ 246 h 252"/>
              <a:gd name="T70" fmla="*/ 198 w 233"/>
              <a:gd name="T71" fmla="*/ 241 h 252"/>
              <a:gd name="T72" fmla="*/ 176 w 233"/>
              <a:gd name="T73" fmla="*/ 226 h 252"/>
              <a:gd name="T74" fmla="*/ 151 w 233"/>
              <a:gd name="T75" fmla="*/ 208 h 252"/>
              <a:gd name="T76" fmla="*/ 125 w 233"/>
              <a:gd name="T77" fmla="*/ 186 h 252"/>
              <a:gd name="T78" fmla="*/ 100 w 233"/>
              <a:gd name="T79" fmla="*/ 165 h 252"/>
              <a:gd name="T80" fmla="*/ 78 w 233"/>
              <a:gd name="T81" fmla="*/ 145 h 252"/>
              <a:gd name="T82" fmla="*/ 61 w 233"/>
              <a:gd name="T83" fmla="*/ 129 h 252"/>
              <a:gd name="T84" fmla="*/ 55 w 233"/>
              <a:gd name="T85" fmla="*/ 125 h 252"/>
              <a:gd name="T86" fmla="*/ 48 w 233"/>
              <a:gd name="T87" fmla="*/ 120 h 252"/>
              <a:gd name="T88" fmla="*/ 41 w 233"/>
              <a:gd name="T89" fmla="*/ 116 h 252"/>
              <a:gd name="T90" fmla="*/ 33 w 233"/>
              <a:gd name="T91" fmla="*/ 112 h 252"/>
              <a:gd name="T92" fmla="*/ 17 w 233"/>
              <a:gd name="T93" fmla="*/ 104 h 252"/>
              <a:gd name="T94" fmla="*/ 0 w 233"/>
              <a:gd name="T95" fmla="*/ 99 h 252"/>
              <a:gd name="T96" fmla="*/ 40 w 233"/>
              <a:gd name="T97" fmla="*/ 63 h 252"/>
              <a:gd name="T98" fmla="*/ 59 w 233"/>
              <a:gd name="T99" fmla="*/ 43 h 252"/>
              <a:gd name="T100" fmla="*/ 65 w 233"/>
              <a:gd name="T101" fmla="*/ 33 h 252"/>
              <a:gd name="T102" fmla="*/ 69 w 233"/>
              <a:gd name="T103" fmla="*/ 25 h 252"/>
              <a:gd name="T104" fmla="*/ 72 w 233"/>
              <a:gd name="T105" fmla="*/ 14 h 252"/>
              <a:gd name="T106" fmla="*/ 74 w 233"/>
              <a:gd name="T107" fmla="*/ 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14" name="Freeform 266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>
              <a:gd name="T0" fmla="*/ 13 w 246"/>
              <a:gd name="T1" fmla="*/ 376 h 380"/>
              <a:gd name="T2" fmla="*/ 14 w 246"/>
              <a:gd name="T3" fmla="*/ 367 h 380"/>
              <a:gd name="T4" fmla="*/ 15 w 246"/>
              <a:gd name="T5" fmla="*/ 359 h 380"/>
              <a:gd name="T6" fmla="*/ 18 w 246"/>
              <a:gd name="T7" fmla="*/ 351 h 380"/>
              <a:gd name="T8" fmla="*/ 20 w 246"/>
              <a:gd name="T9" fmla="*/ 344 h 380"/>
              <a:gd name="T10" fmla="*/ 25 w 246"/>
              <a:gd name="T11" fmla="*/ 333 h 380"/>
              <a:gd name="T12" fmla="*/ 26 w 246"/>
              <a:gd name="T13" fmla="*/ 327 h 380"/>
              <a:gd name="T14" fmla="*/ 25 w 246"/>
              <a:gd name="T15" fmla="*/ 321 h 380"/>
              <a:gd name="T16" fmla="*/ 23 w 246"/>
              <a:gd name="T17" fmla="*/ 314 h 380"/>
              <a:gd name="T18" fmla="*/ 19 w 246"/>
              <a:gd name="T19" fmla="*/ 305 h 380"/>
              <a:gd name="T20" fmla="*/ 13 w 246"/>
              <a:gd name="T21" fmla="*/ 295 h 380"/>
              <a:gd name="T22" fmla="*/ 9 w 246"/>
              <a:gd name="T23" fmla="*/ 285 h 380"/>
              <a:gd name="T24" fmla="*/ 4 w 246"/>
              <a:gd name="T25" fmla="*/ 275 h 380"/>
              <a:gd name="T26" fmla="*/ 1 w 246"/>
              <a:gd name="T27" fmla="*/ 267 h 380"/>
              <a:gd name="T28" fmla="*/ 0 w 246"/>
              <a:gd name="T29" fmla="*/ 259 h 380"/>
              <a:gd name="T30" fmla="*/ 1 w 246"/>
              <a:gd name="T31" fmla="*/ 251 h 380"/>
              <a:gd name="T32" fmla="*/ 2 w 246"/>
              <a:gd name="T33" fmla="*/ 243 h 380"/>
              <a:gd name="T34" fmla="*/ 3 w 246"/>
              <a:gd name="T35" fmla="*/ 236 h 380"/>
              <a:gd name="T36" fmla="*/ 6 w 246"/>
              <a:gd name="T37" fmla="*/ 230 h 380"/>
              <a:gd name="T38" fmla="*/ 11 w 246"/>
              <a:gd name="T39" fmla="*/ 218 h 380"/>
              <a:gd name="T40" fmla="*/ 19 w 246"/>
              <a:gd name="T41" fmla="*/ 207 h 380"/>
              <a:gd name="T42" fmla="*/ 26 w 246"/>
              <a:gd name="T43" fmla="*/ 197 h 380"/>
              <a:gd name="T44" fmla="*/ 34 w 246"/>
              <a:gd name="T45" fmla="*/ 185 h 380"/>
              <a:gd name="T46" fmla="*/ 41 w 246"/>
              <a:gd name="T47" fmla="*/ 173 h 380"/>
              <a:gd name="T48" fmla="*/ 47 w 246"/>
              <a:gd name="T49" fmla="*/ 160 h 380"/>
              <a:gd name="T50" fmla="*/ 26 w 246"/>
              <a:gd name="T51" fmla="*/ 73 h 380"/>
              <a:gd name="T52" fmla="*/ 26 w 246"/>
              <a:gd name="T53" fmla="*/ 50 h 380"/>
              <a:gd name="T54" fmla="*/ 24 w 246"/>
              <a:gd name="T55" fmla="*/ 33 h 380"/>
              <a:gd name="T56" fmla="*/ 24 w 246"/>
              <a:gd name="T57" fmla="*/ 25 h 380"/>
              <a:gd name="T58" fmla="*/ 24 w 246"/>
              <a:gd name="T59" fmla="*/ 16 h 380"/>
              <a:gd name="T60" fmla="*/ 25 w 246"/>
              <a:gd name="T61" fmla="*/ 8 h 380"/>
              <a:gd name="T62" fmla="*/ 26 w 246"/>
              <a:gd name="T63" fmla="*/ 0 h 380"/>
              <a:gd name="T64" fmla="*/ 180 w 246"/>
              <a:gd name="T65" fmla="*/ 0 h 380"/>
              <a:gd name="T66" fmla="*/ 220 w 246"/>
              <a:gd name="T67" fmla="*/ 129 h 380"/>
              <a:gd name="T68" fmla="*/ 220 w 246"/>
              <a:gd name="T69" fmla="*/ 210 h 380"/>
              <a:gd name="T70" fmla="*/ 220 w 246"/>
              <a:gd name="T71" fmla="*/ 220 h 380"/>
              <a:gd name="T72" fmla="*/ 221 w 246"/>
              <a:gd name="T73" fmla="*/ 230 h 380"/>
              <a:gd name="T74" fmla="*/ 223 w 246"/>
              <a:gd name="T75" fmla="*/ 240 h 380"/>
              <a:gd name="T76" fmla="*/ 225 w 246"/>
              <a:gd name="T77" fmla="*/ 250 h 380"/>
              <a:gd name="T78" fmla="*/ 228 w 246"/>
              <a:gd name="T79" fmla="*/ 259 h 380"/>
              <a:gd name="T80" fmla="*/ 234 w 246"/>
              <a:gd name="T81" fmla="*/ 268 h 380"/>
              <a:gd name="T82" fmla="*/ 239 w 246"/>
              <a:gd name="T83" fmla="*/ 278 h 380"/>
              <a:gd name="T84" fmla="*/ 246 w 246"/>
              <a:gd name="T85" fmla="*/ 289 h 380"/>
              <a:gd name="T86" fmla="*/ 224 w 246"/>
              <a:gd name="T87" fmla="*/ 295 h 380"/>
              <a:gd name="T88" fmla="*/ 202 w 246"/>
              <a:gd name="T89" fmla="*/ 302 h 380"/>
              <a:gd name="T90" fmla="*/ 181 w 246"/>
              <a:gd name="T91" fmla="*/ 310 h 380"/>
              <a:gd name="T92" fmla="*/ 160 w 246"/>
              <a:gd name="T93" fmla="*/ 319 h 380"/>
              <a:gd name="T94" fmla="*/ 141 w 246"/>
              <a:gd name="T95" fmla="*/ 328 h 380"/>
              <a:gd name="T96" fmla="*/ 120 w 246"/>
              <a:gd name="T97" fmla="*/ 338 h 380"/>
              <a:gd name="T98" fmla="*/ 100 w 246"/>
              <a:gd name="T99" fmla="*/ 347 h 380"/>
              <a:gd name="T100" fmla="*/ 80 w 246"/>
              <a:gd name="T101" fmla="*/ 358 h 380"/>
              <a:gd name="T102" fmla="*/ 75 w 246"/>
              <a:gd name="T103" fmla="*/ 363 h 380"/>
              <a:gd name="T104" fmla="*/ 69 w 246"/>
              <a:gd name="T105" fmla="*/ 367 h 380"/>
              <a:gd name="T106" fmla="*/ 62 w 246"/>
              <a:gd name="T107" fmla="*/ 372 h 380"/>
              <a:gd name="T108" fmla="*/ 54 w 246"/>
              <a:gd name="T109" fmla="*/ 376 h 380"/>
              <a:gd name="T110" fmla="*/ 46 w 246"/>
              <a:gd name="T111" fmla="*/ 379 h 380"/>
              <a:gd name="T112" fmla="*/ 36 w 246"/>
              <a:gd name="T113" fmla="*/ 380 h 380"/>
              <a:gd name="T114" fmla="*/ 31 w 246"/>
              <a:gd name="T115" fmla="*/ 380 h 380"/>
              <a:gd name="T116" fmla="*/ 25 w 246"/>
              <a:gd name="T117" fmla="*/ 379 h 380"/>
              <a:gd name="T118" fmla="*/ 20 w 246"/>
              <a:gd name="T119" fmla="*/ 378 h 380"/>
              <a:gd name="T120" fmla="*/ 13 w 246"/>
              <a:gd name="T121" fmla="*/ 376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15" name="Freeform 267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>
              <a:gd name="T0" fmla="*/ 7 w 193"/>
              <a:gd name="T1" fmla="*/ 20 h 38"/>
              <a:gd name="T2" fmla="*/ 38 w 193"/>
              <a:gd name="T3" fmla="*/ 11 h 38"/>
              <a:gd name="T4" fmla="*/ 67 w 193"/>
              <a:gd name="T5" fmla="*/ 5 h 38"/>
              <a:gd name="T6" fmla="*/ 80 w 193"/>
              <a:gd name="T7" fmla="*/ 3 h 38"/>
              <a:gd name="T8" fmla="*/ 94 w 193"/>
              <a:gd name="T9" fmla="*/ 2 h 38"/>
              <a:gd name="T10" fmla="*/ 110 w 193"/>
              <a:gd name="T11" fmla="*/ 1 h 38"/>
              <a:gd name="T12" fmla="*/ 126 w 193"/>
              <a:gd name="T13" fmla="*/ 0 h 38"/>
              <a:gd name="T14" fmla="*/ 138 w 193"/>
              <a:gd name="T15" fmla="*/ 1 h 38"/>
              <a:gd name="T16" fmla="*/ 149 w 193"/>
              <a:gd name="T17" fmla="*/ 1 h 38"/>
              <a:gd name="T18" fmla="*/ 160 w 193"/>
              <a:gd name="T19" fmla="*/ 2 h 38"/>
              <a:gd name="T20" fmla="*/ 169 w 193"/>
              <a:gd name="T21" fmla="*/ 4 h 38"/>
              <a:gd name="T22" fmla="*/ 178 w 193"/>
              <a:gd name="T23" fmla="*/ 6 h 38"/>
              <a:gd name="T24" fmla="*/ 184 w 193"/>
              <a:gd name="T25" fmla="*/ 11 h 38"/>
              <a:gd name="T26" fmla="*/ 187 w 193"/>
              <a:gd name="T27" fmla="*/ 13 h 38"/>
              <a:gd name="T28" fmla="*/ 189 w 193"/>
              <a:gd name="T29" fmla="*/ 18 h 38"/>
              <a:gd name="T30" fmla="*/ 191 w 193"/>
              <a:gd name="T31" fmla="*/ 21 h 38"/>
              <a:gd name="T32" fmla="*/ 193 w 193"/>
              <a:gd name="T33" fmla="*/ 26 h 38"/>
              <a:gd name="T34" fmla="*/ 183 w 193"/>
              <a:gd name="T35" fmla="*/ 27 h 38"/>
              <a:gd name="T36" fmla="*/ 173 w 193"/>
              <a:gd name="T37" fmla="*/ 28 h 38"/>
              <a:gd name="T38" fmla="*/ 165 w 193"/>
              <a:gd name="T39" fmla="*/ 28 h 38"/>
              <a:gd name="T40" fmla="*/ 156 w 193"/>
              <a:gd name="T41" fmla="*/ 28 h 38"/>
              <a:gd name="T42" fmla="*/ 138 w 193"/>
              <a:gd name="T43" fmla="*/ 27 h 38"/>
              <a:gd name="T44" fmla="*/ 120 w 193"/>
              <a:gd name="T45" fmla="*/ 26 h 38"/>
              <a:gd name="T46" fmla="*/ 103 w 193"/>
              <a:gd name="T47" fmla="*/ 26 h 38"/>
              <a:gd name="T48" fmla="*/ 89 w 193"/>
              <a:gd name="T49" fmla="*/ 28 h 38"/>
              <a:gd name="T50" fmla="*/ 76 w 193"/>
              <a:gd name="T51" fmla="*/ 30 h 38"/>
              <a:gd name="T52" fmla="*/ 63 w 193"/>
              <a:gd name="T53" fmla="*/ 32 h 38"/>
              <a:gd name="T54" fmla="*/ 49 w 193"/>
              <a:gd name="T55" fmla="*/ 34 h 38"/>
              <a:gd name="T56" fmla="*/ 35 w 193"/>
              <a:gd name="T57" fmla="*/ 36 h 38"/>
              <a:gd name="T58" fmla="*/ 19 w 193"/>
              <a:gd name="T59" fmla="*/ 37 h 38"/>
              <a:gd name="T60" fmla="*/ 0 w 193"/>
              <a:gd name="T61" fmla="*/ 38 h 38"/>
              <a:gd name="T62" fmla="*/ 0 w 193"/>
              <a:gd name="T63" fmla="*/ 33 h 38"/>
              <a:gd name="T64" fmla="*/ 1 w 193"/>
              <a:gd name="T65" fmla="*/ 29 h 38"/>
              <a:gd name="T66" fmla="*/ 3 w 193"/>
              <a:gd name="T67" fmla="*/ 24 h 38"/>
              <a:gd name="T68" fmla="*/ 7 w 193"/>
              <a:gd name="T6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16" name="Freeform 268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>
              <a:gd name="T0" fmla="*/ 53 w 99"/>
              <a:gd name="T1" fmla="*/ 12 h 301"/>
              <a:gd name="T2" fmla="*/ 59 w 99"/>
              <a:gd name="T3" fmla="*/ 12 h 301"/>
              <a:gd name="T4" fmla="*/ 59 w 99"/>
              <a:gd name="T5" fmla="*/ 19 h 301"/>
              <a:gd name="T6" fmla="*/ 62 w 99"/>
              <a:gd name="T7" fmla="*/ 26 h 301"/>
              <a:gd name="T8" fmla="*/ 63 w 99"/>
              <a:gd name="T9" fmla="*/ 33 h 301"/>
              <a:gd name="T10" fmla="*/ 66 w 99"/>
              <a:gd name="T11" fmla="*/ 42 h 301"/>
              <a:gd name="T12" fmla="*/ 72 w 99"/>
              <a:gd name="T13" fmla="*/ 58 h 301"/>
              <a:gd name="T14" fmla="*/ 79 w 99"/>
              <a:gd name="T15" fmla="*/ 75 h 301"/>
              <a:gd name="T16" fmla="*/ 87 w 99"/>
              <a:gd name="T17" fmla="*/ 93 h 301"/>
              <a:gd name="T18" fmla="*/ 93 w 99"/>
              <a:gd name="T19" fmla="*/ 111 h 301"/>
              <a:gd name="T20" fmla="*/ 96 w 99"/>
              <a:gd name="T21" fmla="*/ 120 h 301"/>
              <a:gd name="T22" fmla="*/ 98 w 99"/>
              <a:gd name="T23" fmla="*/ 129 h 301"/>
              <a:gd name="T24" fmla="*/ 99 w 99"/>
              <a:gd name="T25" fmla="*/ 138 h 301"/>
              <a:gd name="T26" fmla="*/ 99 w 99"/>
              <a:gd name="T27" fmla="*/ 148 h 301"/>
              <a:gd name="T28" fmla="*/ 99 w 99"/>
              <a:gd name="T29" fmla="*/ 289 h 301"/>
              <a:gd name="T30" fmla="*/ 89 w 99"/>
              <a:gd name="T31" fmla="*/ 290 h 301"/>
              <a:gd name="T32" fmla="*/ 80 w 99"/>
              <a:gd name="T33" fmla="*/ 293 h 301"/>
              <a:gd name="T34" fmla="*/ 73 w 99"/>
              <a:gd name="T35" fmla="*/ 297 h 301"/>
              <a:gd name="T36" fmla="*/ 66 w 99"/>
              <a:gd name="T37" fmla="*/ 301 h 301"/>
              <a:gd name="T38" fmla="*/ 59 w 99"/>
              <a:gd name="T39" fmla="*/ 290 h 301"/>
              <a:gd name="T40" fmla="*/ 54 w 99"/>
              <a:gd name="T41" fmla="*/ 280 h 301"/>
              <a:gd name="T42" fmla="*/ 48 w 99"/>
              <a:gd name="T43" fmla="*/ 271 h 301"/>
              <a:gd name="T44" fmla="*/ 45 w 99"/>
              <a:gd name="T45" fmla="*/ 262 h 301"/>
              <a:gd name="T46" fmla="*/ 43 w 99"/>
              <a:gd name="T47" fmla="*/ 252 h 301"/>
              <a:gd name="T48" fmla="*/ 41 w 99"/>
              <a:gd name="T49" fmla="*/ 242 h 301"/>
              <a:gd name="T50" fmla="*/ 40 w 99"/>
              <a:gd name="T51" fmla="*/ 232 h 301"/>
              <a:gd name="T52" fmla="*/ 40 w 99"/>
              <a:gd name="T53" fmla="*/ 222 h 301"/>
              <a:gd name="T54" fmla="*/ 40 w 99"/>
              <a:gd name="T55" fmla="*/ 141 h 301"/>
              <a:gd name="T56" fmla="*/ 0 w 99"/>
              <a:gd name="T57" fmla="*/ 6 h 301"/>
              <a:gd name="T58" fmla="*/ 5 w 99"/>
              <a:gd name="T59" fmla="*/ 2 h 301"/>
              <a:gd name="T60" fmla="*/ 10 w 99"/>
              <a:gd name="T61" fmla="*/ 0 h 301"/>
              <a:gd name="T62" fmla="*/ 14 w 99"/>
              <a:gd name="T63" fmla="*/ 0 h 301"/>
              <a:gd name="T64" fmla="*/ 20 w 99"/>
              <a:gd name="T65" fmla="*/ 0 h 301"/>
              <a:gd name="T66" fmla="*/ 26 w 99"/>
              <a:gd name="T67" fmla="*/ 0 h 301"/>
              <a:gd name="T68" fmla="*/ 32 w 99"/>
              <a:gd name="T69" fmla="*/ 2 h 301"/>
              <a:gd name="T70" fmla="*/ 37 w 99"/>
              <a:gd name="T71" fmla="*/ 4 h 301"/>
              <a:gd name="T72" fmla="*/ 41 w 99"/>
              <a:gd name="T73" fmla="*/ 6 h 301"/>
              <a:gd name="T74" fmla="*/ 47 w 99"/>
              <a:gd name="T75" fmla="*/ 10 h 301"/>
              <a:gd name="T76" fmla="*/ 53 w 99"/>
              <a:gd name="T77" fmla="*/ 12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17" name="Freeform 269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>
              <a:gd name="T0" fmla="*/ 0 w 173"/>
              <a:gd name="T1" fmla="*/ 80 h 357"/>
              <a:gd name="T2" fmla="*/ 9 w 173"/>
              <a:gd name="T3" fmla="*/ 72 h 357"/>
              <a:gd name="T4" fmla="*/ 17 w 173"/>
              <a:gd name="T5" fmla="*/ 65 h 357"/>
              <a:gd name="T6" fmla="*/ 25 w 173"/>
              <a:gd name="T7" fmla="*/ 60 h 357"/>
              <a:gd name="T8" fmla="*/ 33 w 173"/>
              <a:gd name="T9" fmla="*/ 56 h 357"/>
              <a:gd name="T10" fmla="*/ 40 w 173"/>
              <a:gd name="T11" fmla="*/ 50 h 357"/>
              <a:gd name="T12" fmla="*/ 67 w 173"/>
              <a:gd name="T13" fmla="*/ 50 h 357"/>
              <a:gd name="T14" fmla="*/ 94 w 173"/>
              <a:gd name="T15" fmla="*/ 0 h 357"/>
              <a:gd name="T16" fmla="*/ 101 w 173"/>
              <a:gd name="T17" fmla="*/ 3 h 357"/>
              <a:gd name="T18" fmla="*/ 108 w 173"/>
              <a:gd name="T19" fmla="*/ 7 h 357"/>
              <a:gd name="T20" fmla="*/ 116 w 173"/>
              <a:gd name="T21" fmla="*/ 12 h 357"/>
              <a:gd name="T22" fmla="*/ 123 w 173"/>
              <a:gd name="T23" fmla="*/ 18 h 357"/>
              <a:gd name="T24" fmla="*/ 131 w 173"/>
              <a:gd name="T25" fmla="*/ 22 h 357"/>
              <a:gd name="T26" fmla="*/ 139 w 173"/>
              <a:gd name="T27" fmla="*/ 27 h 357"/>
              <a:gd name="T28" fmla="*/ 145 w 173"/>
              <a:gd name="T29" fmla="*/ 29 h 357"/>
              <a:gd name="T30" fmla="*/ 153 w 173"/>
              <a:gd name="T31" fmla="*/ 30 h 357"/>
              <a:gd name="T32" fmla="*/ 163 w 173"/>
              <a:gd name="T33" fmla="*/ 39 h 357"/>
              <a:gd name="T34" fmla="*/ 173 w 173"/>
              <a:gd name="T35" fmla="*/ 50 h 357"/>
              <a:gd name="T36" fmla="*/ 173 w 173"/>
              <a:gd name="T37" fmla="*/ 61 h 357"/>
              <a:gd name="T38" fmla="*/ 173 w 173"/>
              <a:gd name="T39" fmla="*/ 69 h 357"/>
              <a:gd name="T40" fmla="*/ 173 w 173"/>
              <a:gd name="T41" fmla="*/ 80 h 357"/>
              <a:gd name="T42" fmla="*/ 173 w 173"/>
              <a:gd name="T43" fmla="*/ 98 h 357"/>
              <a:gd name="T44" fmla="*/ 173 w 173"/>
              <a:gd name="T45" fmla="*/ 109 h 357"/>
              <a:gd name="T46" fmla="*/ 171 w 173"/>
              <a:gd name="T47" fmla="*/ 118 h 357"/>
              <a:gd name="T48" fmla="*/ 167 w 173"/>
              <a:gd name="T49" fmla="*/ 127 h 357"/>
              <a:gd name="T50" fmla="*/ 163 w 173"/>
              <a:gd name="T51" fmla="*/ 135 h 357"/>
              <a:gd name="T52" fmla="*/ 152 w 173"/>
              <a:gd name="T53" fmla="*/ 151 h 357"/>
              <a:gd name="T54" fmla="*/ 140 w 173"/>
              <a:gd name="T55" fmla="*/ 167 h 357"/>
              <a:gd name="T56" fmla="*/ 128 w 173"/>
              <a:gd name="T57" fmla="*/ 183 h 357"/>
              <a:gd name="T58" fmla="*/ 117 w 173"/>
              <a:gd name="T59" fmla="*/ 200 h 357"/>
              <a:gd name="T60" fmla="*/ 112 w 173"/>
              <a:gd name="T61" fmla="*/ 209 h 357"/>
              <a:gd name="T62" fmla="*/ 109 w 173"/>
              <a:gd name="T63" fmla="*/ 219 h 357"/>
              <a:gd name="T64" fmla="*/ 108 w 173"/>
              <a:gd name="T65" fmla="*/ 229 h 357"/>
              <a:gd name="T66" fmla="*/ 107 w 173"/>
              <a:gd name="T67" fmla="*/ 240 h 357"/>
              <a:gd name="T68" fmla="*/ 108 w 173"/>
              <a:gd name="T69" fmla="*/ 273 h 357"/>
              <a:gd name="T70" fmla="*/ 109 w 173"/>
              <a:gd name="T71" fmla="*/ 293 h 357"/>
              <a:gd name="T72" fmla="*/ 110 w 173"/>
              <a:gd name="T73" fmla="*/ 302 h 357"/>
              <a:gd name="T74" fmla="*/ 109 w 173"/>
              <a:gd name="T75" fmla="*/ 313 h 357"/>
              <a:gd name="T76" fmla="*/ 109 w 173"/>
              <a:gd name="T77" fmla="*/ 327 h 357"/>
              <a:gd name="T78" fmla="*/ 107 w 173"/>
              <a:gd name="T79" fmla="*/ 345 h 357"/>
              <a:gd name="T80" fmla="*/ 97 w 173"/>
              <a:gd name="T81" fmla="*/ 346 h 357"/>
              <a:gd name="T82" fmla="*/ 88 w 173"/>
              <a:gd name="T83" fmla="*/ 347 h 357"/>
              <a:gd name="T84" fmla="*/ 79 w 173"/>
              <a:gd name="T85" fmla="*/ 349 h 357"/>
              <a:gd name="T86" fmla="*/ 71 w 173"/>
              <a:gd name="T87" fmla="*/ 351 h 357"/>
              <a:gd name="T88" fmla="*/ 63 w 173"/>
              <a:gd name="T89" fmla="*/ 353 h 357"/>
              <a:gd name="T90" fmla="*/ 55 w 173"/>
              <a:gd name="T91" fmla="*/ 355 h 357"/>
              <a:gd name="T92" fmla="*/ 48 w 173"/>
              <a:gd name="T93" fmla="*/ 357 h 357"/>
              <a:gd name="T94" fmla="*/ 40 w 173"/>
              <a:gd name="T95" fmla="*/ 357 h 357"/>
              <a:gd name="T96" fmla="*/ 40 w 173"/>
              <a:gd name="T97" fmla="*/ 216 h 357"/>
              <a:gd name="T98" fmla="*/ 40 w 173"/>
              <a:gd name="T99" fmla="*/ 206 h 357"/>
              <a:gd name="T100" fmla="*/ 39 w 173"/>
              <a:gd name="T101" fmla="*/ 197 h 357"/>
              <a:gd name="T102" fmla="*/ 37 w 173"/>
              <a:gd name="T103" fmla="*/ 188 h 357"/>
              <a:gd name="T104" fmla="*/ 34 w 173"/>
              <a:gd name="T105" fmla="*/ 179 h 357"/>
              <a:gd name="T106" fmla="*/ 28 w 173"/>
              <a:gd name="T107" fmla="*/ 161 h 357"/>
              <a:gd name="T108" fmla="*/ 20 w 173"/>
              <a:gd name="T109" fmla="*/ 143 h 357"/>
              <a:gd name="T110" fmla="*/ 13 w 173"/>
              <a:gd name="T111" fmla="*/ 126 h 357"/>
              <a:gd name="T112" fmla="*/ 7 w 173"/>
              <a:gd name="T113" fmla="*/ 110 h 357"/>
              <a:gd name="T114" fmla="*/ 4 w 173"/>
              <a:gd name="T115" fmla="*/ 101 h 357"/>
              <a:gd name="T116" fmla="*/ 3 w 173"/>
              <a:gd name="T117" fmla="*/ 94 h 357"/>
              <a:gd name="T118" fmla="*/ 0 w 173"/>
              <a:gd name="T119" fmla="*/ 87 h 357"/>
              <a:gd name="T120" fmla="*/ 0 w 173"/>
              <a:gd name="T121" fmla="*/ 8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18" name="Freeform 270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>
              <a:gd name="T0" fmla="*/ 10 w 50"/>
              <a:gd name="T1" fmla="*/ 0 h 74"/>
              <a:gd name="T2" fmla="*/ 6 w 50"/>
              <a:gd name="T3" fmla="*/ 14 h 74"/>
              <a:gd name="T4" fmla="*/ 2 w 50"/>
              <a:gd name="T5" fmla="*/ 26 h 74"/>
              <a:gd name="T6" fmla="*/ 0 w 50"/>
              <a:gd name="T7" fmla="*/ 36 h 74"/>
              <a:gd name="T8" fmla="*/ 0 w 50"/>
              <a:gd name="T9" fmla="*/ 43 h 74"/>
              <a:gd name="T10" fmla="*/ 0 w 50"/>
              <a:gd name="T11" fmla="*/ 50 h 74"/>
              <a:gd name="T12" fmla="*/ 2 w 50"/>
              <a:gd name="T13" fmla="*/ 56 h 74"/>
              <a:gd name="T14" fmla="*/ 6 w 50"/>
              <a:gd name="T15" fmla="*/ 61 h 74"/>
              <a:gd name="T16" fmla="*/ 10 w 50"/>
              <a:gd name="T17" fmla="*/ 68 h 74"/>
              <a:gd name="T18" fmla="*/ 50 w 50"/>
              <a:gd name="T19" fmla="*/ 74 h 74"/>
              <a:gd name="T20" fmla="*/ 50 w 50"/>
              <a:gd name="T21" fmla="*/ 51 h 74"/>
              <a:gd name="T22" fmla="*/ 50 w 50"/>
              <a:gd name="T23" fmla="*/ 34 h 74"/>
              <a:gd name="T24" fmla="*/ 50 w 50"/>
              <a:gd name="T25" fmla="*/ 19 h 74"/>
              <a:gd name="T26" fmla="*/ 50 w 50"/>
              <a:gd name="T27" fmla="*/ 0 h 74"/>
              <a:gd name="T28" fmla="*/ 38 w 50"/>
              <a:gd name="T29" fmla="*/ 0 h 74"/>
              <a:gd name="T30" fmla="*/ 25 w 50"/>
              <a:gd name="T31" fmla="*/ 0 h 74"/>
              <a:gd name="T32" fmla="*/ 14 w 50"/>
              <a:gd name="T33" fmla="*/ 0 h 74"/>
              <a:gd name="T34" fmla="*/ 10 w 50"/>
              <a:gd name="T3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19" name="Freeform 271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>
              <a:alpha val="47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20" name="Freeform 272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>
              <a:gd name="T0" fmla="*/ 240 w 266"/>
              <a:gd name="T1" fmla="*/ 9 h 326"/>
              <a:gd name="T2" fmla="*/ 240 w 266"/>
              <a:gd name="T3" fmla="*/ 28 h 326"/>
              <a:gd name="T4" fmla="*/ 249 w 266"/>
              <a:gd name="T5" fmla="*/ 42 h 326"/>
              <a:gd name="T6" fmla="*/ 245 w 266"/>
              <a:gd name="T7" fmla="*/ 55 h 326"/>
              <a:gd name="T8" fmla="*/ 225 w 266"/>
              <a:gd name="T9" fmla="*/ 50 h 326"/>
              <a:gd name="T10" fmla="*/ 210 w 266"/>
              <a:gd name="T11" fmla="*/ 51 h 326"/>
              <a:gd name="T12" fmla="*/ 195 w 266"/>
              <a:gd name="T13" fmla="*/ 65 h 326"/>
              <a:gd name="T14" fmla="*/ 193 w 266"/>
              <a:gd name="T15" fmla="*/ 78 h 326"/>
              <a:gd name="T16" fmla="*/ 198 w 266"/>
              <a:gd name="T17" fmla="*/ 89 h 326"/>
              <a:gd name="T18" fmla="*/ 215 w 266"/>
              <a:gd name="T19" fmla="*/ 110 h 326"/>
              <a:gd name="T20" fmla="*/ 224 w 266"/>
              <a:gd name="T21" fmla="*/ 122 h 326"/>
              <a:gd name="T22" fmla="*/ 225 w 266"/>
              <a:gd name="T23" fmla="*/ 133 h 326"/>
              <a:gd name="T24" fmla="*/ 222 w 266"/>
              <a:gd name="T25" fmla="*/ 143 h 326"/>
              <a:gd name="T26" fmla="*/ 207 w 266"/>
              <a:gd name="T27" fmla="*/ 154 h 326"/>
              <a:gd name="T28" fmla="*/ 200 w 266"/>
              <a:gd name="T29" fmla="*/ 160 h 326"/>
              <a:gd name="T30" fmla="*/ 181 w 266"/>
              <a:gd name="T31" fmla="*/ 166 h 326"/>
              <a:gd name="T32" fmla="*/ 164 w 266"/>
              <a:gd name="T33" fmla="*/ 178 h 326"/>
              <a:gd name="T34" fmla="*/ 160 w 266"/>
              <a:gd name="T35" fmla="*/ 191 h 326"/>
              <a:gd name="T36" fmla="*/ 173 w 266"/>
              <a:gd name="T37" fmla="*/ 207 h 326"/>
              <a:gd name="T38" fmla="*/ 189 w 266"/>
              <a:gd name="T39" fmla="*/ 215 h 326"/>
              <a:gd name="T40" fmla="*/ 214 w 266"/>
              <a:gd name="T41" fmla="*/ 227 h 326"/>
              <a:gd name="T42" fmla="*/ 245 w 266"/>
              <a:gd name="T43" fmla="*/ 259 h 326"/>
              <a:gd name="T44" fmla="*/ 251 w 266"/>
              <a:gd name="T45" fmla="*/ 285 h 326"/>
              <a:gd name="T46" fmla="*/ 220 w 266"/>
              <a:gd name="T47" fmla="*/ 291 h 326"/>
              <a:gd name="T48" fmla="*/ 207 w 266"/>
              <a:gd name="T49" fmla="*/ 298 h 326"/>
              <a:gd name="T50" fmla="*/ 198 w 266"/>
              <a:gd name="T51" fmla="*/ 312 h 326"/>
              <a:gd name="T52" fmla="*/ 189 w 266"/>
              <a:gd name="T53" fmla="*/ 326 h 326"/>
              <a:gd name="T54" fmla="*/ 170 w 266"/>
              <a:gd name="T55" fmla="*/ 321 h 326"/>
              <a:gd name="T56" fmla="*/ 167 w 266"/>
              <a:gd name="T57" fmla="*/ 316 h 326"/>
              <a:gd name="T58" fmla="*/ 154 w 266"/>
              <a:gd name="T59" fmla="*/ 310 h 326"/>
              <a:gd name="T60" fmla="*/ 139 w 266"/>
              <a:gd name="T61" fmla="*/ 301 h 326"/>
              <a:gd name="T62" fmla="*/ 126 w 266"/>
              <a:gd name="T63" fmla="*/ 295 h 326"/>
              <a:gd name="T64" fmla="*/ 98 w 266"/>
              <a:gd name="T65" fmla="*/ 290 h 326"/>
              <a:gd name="T66" fmla="*/ 63 w 266"/>
              <a:gd name="T67" fmla="*/ 277 h 326"/>
              <a:gd name="T68" fmla="*/ 54 w 266"/>
              <a:gd name="T69" fmla="*/ 268 h 326"/>
              <a:gd name="T70" fmla="*/ 55 w 266"/>
              <a:gd name="T71" fmla="*/ 256 h 326"/>
              <a:gd name="T72" fmla="*/ 70 w 266"/>
              <a:gd name="T73" fmla="*/ 244 h 326"/>
              <a:gd name="T74" fmla="*/ 59 w 266"/>
              <a:gd name="T75" fmla="*/ 221 h 326"/>
              <a:gd name="T76" fmla="*/ 34 w 266"/>
              <a:gd name="T77" fmla="*/ 194 h 326"/>
              <a:gd name="T78" fmla="*/ 13 w 266"/>
              <a:gd name="T79" fmla="*/ 182 h 326"/>
              <a:gd name="T80" fmla="*/ 4 w 266"/>
              <a:gd name="T81" fmla="*/ 171 h 326"/>
              <a:gd name="T82" fmla="*/ 19 w 266"/>
              <a:gd name="T83" fmla="*/ 152 h 326"/>
              <a:gd name="T84" fmla="*/ 54 w 266"/>
              <a:gd name="T85" fmla="*/ 124 h 326"/>
              <a:gd name="T86" fmla="*/ 73 w 266"/>
              <a:gd name="T87" fmla="*/ 105 h 326"/>
              <a:gd name="T88" fmla="*/ 88 w 266"/>
              <a:gd name="T89" fmla="*/ 92 h 326"/>
              <a:gd name="T90" fmla="*/ 110 w 266"/>
              <a:gd name="T91" fmla="*/ 88 h 326"/>
              <a:gd name="T92" fmla="*/ 144 w 266"/>
              <a:gd name="T93" fmla="*/ 70 h 326"/>
              <a:gd name="T94" fmla="*/ 168 w 266"/>
              <a:gd name="T95" fmla="*/ 46 h 326"/>
              <a:gd name="T96" fmla="*/ 191 w 266"/>
              <a:gd name="T97" fmla="*/ 21 h 326"/>
              <a:gd name="T98" fmla="*/ 220 w 266"/>
              <a:gd name="T99" fmla="*/ 4 h 326"/>
              <a:gd name="T100" fmla="*/ 238 w 266"/>
              <a:gd name="T101" fmla="*/ 0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21" name="Freeform 273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>
              <a:gd name="T0" fmla="*/ 86 w 471"/>
              <a:gd name="T1" fmla="*/ 0 h 237"/>
              <a:gd name="T2" fmla="*/ 92 w 471"/>
              <a:gd name="T3" fmla="*/ 7 h 237"/>
              <a:gd name="T4" fmla="*/ 102 w 471"/>
              <a:gd name="T5" fmla="*/ 13 h 237"/>
              <a:gd name="T6" fmla="*/ 125 w 471"/>
              <a:gd name="T7" fmla="*/ 23 h 237"/>
              <a:gd name="T8" fmla="*/ 159 w 471"/>
              <a:gd name="T9" fmla="*/ 37 h 237"/>
              <a:gd name="T10" fmla="*/ 223 w 471"/>
              <a:gd name="T11" fmla="*/ 77 h 237"/>
              <a:gd name="T12" fmla="*/ 253 w 471"/>
              <a:gd name="T13" fmla="*/ 97 h 237"/>
              <a:gd name="T14" fmla="*/ 283 w 471"/>
              <a:gd name="T15" fmla="*/ 113 h 237"/>
              <a:gd name="T16" fmla="*/ 316 w 471"/>
              <a:gd name="T17" fmla="*/ 127 h 237"/>
              <a:gd name="T18" fmla="*/ 355 w 471"/>
              <a:gd name="T19" fmla="*/ 139 h 237"/>
              <a:gd name="T20" fmla="*/ 399 w 471"/>
              <a:gd name="T21" fmla="*/ 146 h 237"/>
              <a:gd name="T22" fmla="*/ 451 w 471"/>
              <a:gd name="T23" fmla="*/ 148 h 237"/>
              <a:gd name="T24" fmla="*/ 452 w 471"/>
              <a:gd name="T25" fmla="*/ 187 h 237"/>
              <a:gd name="T26" fmla="*/ 459 w 471"/>
              <a:gd name="T27" fmla="*/ 211 h 237"/>
              <a:gd name="T28" fmla="*/ 467 w 471"/>
              <a:gd name="T29" fmla="*/ 227 h 237"/>
              <a:gd name="T30" fmla="*/ 467 w 471"/>
              <a:gd name="T31" fmla="*/ 236 h 237"/>
              <a:gd name="T32" fmla="*/ 451 w 471"/>
              <a:gd name="T33" fmla="*/ 236 h 237"/>
              <a:gd name="T34" fmla="*/ 416 w 471"/>
              <a:gd name="T35" fmla="*/ 231 h 237"/>
              <a:gd name="T36" fmla="*/ 362 w 471"/>
              <a:gd name="T37" fmla="*/ 219 h 237"/>
              <a:gd name="T38" fmla="*/ 315 w 471"/>
              <a:gd name="T39" fmla="*/ 207 h 237"/>
              <a:gd name="T40" fmla="*/ 294 w 471"/>
              <a:gd name="T41" fmla="*/ 203 h 237"/>
              <a:gd name="T42" fmla="*/ 287 w 471"/>
              <a:gd name="T43" fmla="*/ 199 h 237"/>
              <a:gd name="T44" fmla="*/ 277 w 471"/>
              <a:gd name="T45" fmla="*/ 190 h 237"/>
              <a:gd name="T46" fmla="*/ 267 w 471"/>
              <a:gd name="T47" fmla="*/ 178 h 237"/>
              <a:gd name="T48" fmla="*/ 255 w 471"/>
              <a:gd name="T49" fmla="*/ 166 h 237"/>
              <a:gd name="T50" fmla="*/ 240 w 471"/>
              <a:gd name="T51" fmla="*/ 159 h 237"/>
              <a:gd name="T52" fmla="*/ 227 w 471"/>
              <a:gd name="T53" fmla="*/ 159 h 237"/>
              <a:gd name="T54" fmla="*/ 205 w 471"/>
              <a:gd name="T55" fmla="*/ 163 h 237"/>
              <a:gd name="T56" fmla="*/ 183 w 471"/>
              <a:gd name="T57" fmla="*/ 167 h 237"/>
              <a:gd name="T58" fmla="*/ 169 w 471"/>
              <a:gd name="T59" fmla="*/ 168 h 237"/>
              <a:gd name="T60" fmla="*/ 158 w 471"/>
              <a:gd name="T61" fmla="*/ 164 h 237"/>
              <a:gd name="T62" fmla="*/ 148 w 471"/>
              <a:gd name="T63" fmla="*/ 155 h 237"/>
              <a:gd name="T64" fmla="*/ 139 w 471"/>
              <a:gd name="T65" fmla="*/ 148 h 237"/>
              <a:gd name="T66" fmla="*/ 122 w 471"/>
              <a:gd name="T67" fmla="*/ 145 h 237"/>
              <a:gd name="T68" fmla="*/ 92 w 471"/>
              <a:gd name="T69" fmla="*/ 135 h 237"/>
              <a:gd name="T70" fmla="*/ 48 w 471"/>
              <a:gd name="T71" fmla="*/ 117 h 237"/>
              <a:gd name="T72" fmla="*/ 12 w 471"/>
              <a:gd name="T73" fmla="*/ 96 h 237"/>
              <a:gd name="T74" fmla="*/ 7 w 471"/>
              <a:gd name="T75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22" name="Freeform 274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>
              <a:gd name="T0" fmla="*/ 167 w 167"/>
              <a:gd name="T1" fmla="*/ 43 h 123"/>
              <a:gd name="T2" fmla="*/ 164 w 167"/>
              <a:gd name="T3" fmla="*/ 54 h 123"/>
              <a:gd name="T4" fmla="*/ 161 w 167"/>
              <a:gd name="T5" fmla="*/ 66 h 123"/>
              <a:gd name="T6" fmla="*/ 155 w 167"/>
              <a:gd name="T7" fmla="*/ 79 h 123"/>
              <a:gd name="T8" fmla="*/ 150 w 167"/>
              <a:gd name="T9" fmla="*/ 93 h 123"/>
              <a:gd name="T10" fmla="*/ 146 w 167"/>
              <a:gd name="T11" fmla="*/ 99 h 123"/>
              <a:gd name="T12" fmla="*/ 142 w 167"/>
              <a:gd name="T13" fmla="*/ 105 h 123"/>
              <a:gd name="T14" fmla="*/ 138 w 167"/>
              <a:gd name="T15" fmla="*/ 110 h 123"/>
              <a:gd name="T16" fmla="*/ 132 w 167"/>
              <a:gd name="T17" fmla="*/ 114 h 123"/>
              <a:gd name="T18" fmla="*/ 127 w 167"/>
              <a:gd name="T19" fmla="*/ 118 h 123"/>
              <a:gd name="T20" fmla="*/ 121 w 167"/>
              <a:gd name="T21" fmla="*/ 121 h 123"/>
              <a:gd name="T22" fmla="*/ 115 w 167"/>
              <a:gd name="T23" fmla="*/ 122 h 123"/>
              <a:gd name="T24" fmla="*/ 107 w 167"/>
              <a:gd name="T25" fmla="*/ 123 h 123"/>
              <a:gd name="T26" fmla="*/ 100 w 167"/>
              <a:gd name="T27" fmla="*/ 122 h 123"/>
              <a:gd name="T28" fmla="*/ 92 w 167"/>
              <a:gd name="T29" fmla="*/ 119 h 123"/>
              <a:gd name="T30" fmla="*/ 87 w 167"/>
              <a:gd name="T31" fmla="*/ 116 h 123"/>
              <a:gd name="T32" fmla="*/ 84 w 167"/>
              <a:gd name="T33" fmla="*/ 113 h 123"/>
              <a:gd name="T34" fmla="*/ 82 w 167"/>
              <a:gd name="T35" fmla="*/ 109 h 123"/>
              <a:gd name="T36" fmla="*/ 81 w 167"/>
              <a:gd name="T37" fmla="*/ 105 h 123"/>
              <a:gd name="T38" fmla="*/ 71 w 167"/>
              <a:gd name="T39" fmla="*/ 104 h 123"/>
              <a:gd name="T40" fmla="*/ 61 w 167"/>
              <a:gd name="T41" fmla="*/ 103 h 123"/>
              <a:gd name="T42" fmla="*/ 51 w 167"/>
              <a:gd name="T43" fmla="*/ 101 h 123"/>
              <a:gd name="T44" fmla="*/ 41 w 167"/>
              <a:gd name="T45" fmla="*/ 98 h 123"/>
              <a:gd name="T46" fmla="*/ 21 w 167"/>
              <a:gd name="T47" fmla="*/ 92 h 123"/>
              <a:gd name="T48" fmla="*/ 0 w 167"/>
              <a:gd name="T49" fmla="*/ 86 h 123"/>
              <a:gd name="T50" fmla="*/ 2 w 167"/>
              <a:gd name="T51" fmla="*/ 77 h 123"/>
              <a:gd name="T52" fmla="*/ 5 w 167"/>
              <a:gd name="T53" fmla="*/ 67 h 123"/>
              <a:gd name="T54" fmla="*/ 9 w 167"/>
              <a:gd name="T55" fmla="*/ 56 h 123"/>
              <a:gd name="T56" fmla="*/ 15 w 167"/>
              <a:gd name="T57" fmla="*/ 43 h 123"/>
              <a:gd name="T58" fmla="*/ 20 w 167"/>
              <a:gd name="T59" fmla="*/ 43 h 123"/>
              <a:gd name="T60" fmla="*/ 26 w 167"/>
              <a:gd name="T61" fmla="*/ 42 h 123"/>
              <a:gd name="T62" fmla="*/ 30 w 167"/>
              <a:gd name="T63" fmla="*/ 41 h 123"/>
              <a:gd name="T64" fmla="*/ 33 w 167"/>
              <a:gd name="T65" fmla="*/ 38 h 123"/>
              <a:gd name="T66" fmla="*/ 40 w 167"/>
              <a:gd name="T67" fmla="*/ 33 h 123"/>
              <a:gd name="T68" fmla="*/ 45 w 167"/>
              <a:gd name="T69" fmla="*/ 26 h 123"/>
              <a:gd name="T70" fmla="*/ 52 w 167"/>
              <a:gd name="T71" fmla="*/ 12 h 123"/>
              <a:gd name="T72" fmla="*/ 61 w 167"/>
              <a:gd name="T73" fmla="*/ 0 h 123"/>
              <a:gd name="T74" fmla="*/ 64 w 167"/>
              <a:gd name="T75" fmla="*/ 4 h 123"/>
              <a:gd name="T76" fmla="*/ 67 w 167"/>
              <a:gd name="T77" fmla="*/ 7 h 123"/>
              <a:gd name="T78" fmla="*/ 73 w 167"/>
              <a:gd name="T79" fmla="*/ 11 h 123"/>
              <a:gd name="T80" fmla="*/ 78 w 167"/>
              <a:gd name="T81" fmla="*/ 14 h 123"/>
              <a:gd name="T82" fmla="*/ 92 w 167"/>
              <a:gd name="T83" fmla="*/ 21 h 123"/>
              <a:gd name="T84" fmla="*/ 107 w 167"/>
              <a:gd name="T85" fmla="*/ 28 h 123"/>
              <a:gd name="T86" fmla="*/ 122 w 167"/>
              <a:gd name="T87" fmla="*/ 35 h 123"/>
              <a:gd name="T88" fmla="*/ 139 w 167"/>
              <a:gd name="T89" fmla="*/ 39 h 123"/>
              <a:gd name="T90" fmla="*/ 153 w 167"/>
              <a:gd name="T91" fmla="*/ 42 h 123"/>
              <a:gd name="T92" fmla="*/ 167 w 167"/>
              <a:gd name="T93" fmla="*/ 4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23" name="Freeform 275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>
              <a:gd name="T0" fmla="*/ 259 w 306"/>
              <a:gd name="T1" fmla="*/ 160 h 321"/>
              <a:gd name="T2" fmla="*/ 252 w 306"/>
              <a:gd name="T3" fmla="*/ 173 h 321"/>
              <a:gd name="T4" fmla="*/ 243 w 306"/>
              <a:gd name="T5" fmla="*/ 182 h 321"/>
              <a:gd name="T6" fmla="*/ 233 w 306"/>
              <a:gd name="T7" fmla="*/ 186 h 321"/>
              <a:gd name="T8" fmla="*/ 223 w 306"/>
              <a:gd name="T9" fmla="*/ 184 h 321"/>
              <a:gd name="T10" fmla="*/ 214 w 306"/>
              <a:gd name="T11" fmla="*/ 178 h 321"/>
              <a:gd name="T12" fmla="*/ 209 w 306"/>
              <a:gd name="T13" fmla="*/ 169 h 321"/>
              <a:gd name="T14" fmla="*/ 206 w 306"/>
              <a:gd name="T15" fmla="*/ 160 h 321"/>
              <a:gd name="T16" fmla="*/ 209 w 306"/>
              <a:gd name="T17" fmla="*/ 148 h 321"/>
              <a:gd name="T18" fmla="*/ 213 w 306"/>
              <a:gd name="T19" fmla="*/ 136 h 321"/>
              <a:gd name="T20" fmla="*/ 230 w 306"/>
              <a:gd name="T21" fmla="*/ 114 h 321"/>
              <a:gd name="T22" fmla="*/ 246 w 306"/>
              <a:gd name="T23" fmla="*/ 93 h 321"/>
              <a:gd name="T24" fmla="*/ 250 w 306"/>
              <a:gd name="T25" fmla="*/ 82 h 321"/>
              <a:gd name="T26" fmla="*/ 253 w 306"/>
              <a:gd name="T27" fmla="*/ 69 h 321"/>
              <a:gd name="T28" fmla="*/ 129 w 306"/>
              <a:gd name="T29" fmla="*/ 68 h 321"/>
              <a:gd name="T30" fmla="*/ 119 w 306"/>
              <a:gd name="T31" fmla="*/ 59 h 321"/>
              <a:gd name="T32" fmla="*/ 112 w 306"/>
              <a:gd name="T33" fmla="*/ 45 h 321"/>
              <a:gd name="T34" fmla="*/ 108 w 306"/>
              <a:gd name="T35" fmla="*/ 28 h 321"/>
              <a:gd name="T36" fmla="*/ 101 w 306"/>
              <a:gd name="T37" fmla="*/ 19 h 321"/>
              <a:gd name="T38" fmla="*/ 90 w 306"/>
              <a:gd name="T39" fmla="*/ 17 h 321"/>
              <a:gd name="T40" fmla="*/ 80 w 306"/>
              <a:gd name="T41" fmla="*/ 12 h 321"/>
              <a:gd name="T42" fmla="*/ 75 w 306"/>
              <a:gd name="T43" fmla="*/ 4 h 321"/>
              <a:gd name="T44" fmla="*/ 65 w 306"/>
              <a:gd name="T45" fmla="*/ 0 h 321"/>
              <a:gd name="T46" fmla="*/ 49 w 306"/>
              <a:gd name="T47" fmla="*/ 0 h 321"/>
              <a:gd name="T48" fmla="*/ 34 w 306"/>
              <a:gd name="T49" fmla="*/ 1 h 321"/>
              <a:gd name="T50" fmla="*/ 22 w 306"/>
              <a:gd name="T51" fmla="*/ 5 h 321"/>
              <a:gd name="T52" fmla="*/ 10 w 306"/>
              <a:gd name="T53" fmla="*/ 14 h 321"/>
              <a:gd name="T54" fmla="*/ 1 w 306"/>
              <a:gd name="T55" fmla="*/ 25 h 321"/>
              <a:gd name="T56" fmla="*/ 2 w 306"/>
              <a:gd name="T57" fmla="*/ 35 h 321"/>
              <a:gd name="T58" fmla="*/ 15 w 306"/>
              <a:gd name="T59" fmla="*/ 46 h 321"/>
              <a:gd name="T60" fmla="*/ 35 w 306"/>
              <a:gd name="T61" fmla="*/ 58 h 321"/>
              <a:gd name="T62" fmla="*/ 54 w 306"/>
              <a:gd name="T63" fmla="*/ 67 h 321"/>
              <a:gd name="T64" fmla="*/ 47 w 306"/>
              <a:gd name="T65" fmla="*/ 79 h 321"/>
              <a:gd name="T66" fmla="*/ 25 w 306"/>
              <a:gd name="T67" fmla="*/ 97 h 321"/>
              <a:gd name="T68" fmla="*/ 17 w 306"/>
              <a:gd name="T69" fmla="*/ 107 h 321"/>
              <a:gd name="T70" fmla="*/ 14 w 306"/>
              <a:gd name="T71" fmla="*/ 114 h 321"/>
              <a:gd name="T72" fmla="*/ 14 w 306"/>
              <a:gd name="T73" fmla="*/ 122 h 321"/>
              <a:gd name="T74" fmla="*/ 18 w 306"/>
              <a:gd name="T75" fmla="*/ 129 h 321"/>
              <a:gd name="T76" fmla="*/ 28 w 306"/>
              <a:gd name="T77" fmla="*/ 141 h 321"/>
              <a:gd name="T78" fmla="*/ 47 w 306"/>
              <a:gd name="T79" fmla="*/ 156 h 321"/>
              <a:gd name="T80" fmla="*/ 64 w 306"/>
              <a:gd name="T81" fmla="*/ 164 h 321"/>
              <a:gd name="T82" fmla="*/ 75 w 306"/>
              <a:gd name="T83" fmla="*/ 166 h 321"/>
              <a:gd name="T84" fmla="*/ 107 w 306"/>
              <a:gd name="T85" fmla="*/ 271 h 321"/>
              <a:gd name="T86" fmla="*/ 108 w 306"/>
              <a:gd name="T87" fmla="*/ 263 h 321"/>
              <a:gd name="T88" fmla="*/ 112 w 306"/>
              <a:gd name="T89" fmla="*/ 256 h 321"/>
              <a:gd name="T90" fmla="*/ 127 w 306"/>
              <a:gd name="T91" fmla="*/ 246 h 321"/>
              <a:gd name="T92" fmla="*/ 148 w 306"/>
              <a:gd name="T93" fmla="*/ 240 h 321"/>
              <a:gd name="T94" fmla="*/ 174 w 306"/>
              <a:gd name="T95" fmla="*/ 235 h 321"/>
              <a:gd name="T96" fmla="*/ 174 w 306"/>
              <a:gd name="T97" fmla="*/ 210 h 321"/>
              <a:gd name="T98" fmla="*/ 183 w 306"/>
              <a:gd name="T99" fmla="*/ 212 h 321"/>
              <a:gd name="T100" fmla="*/ 193 w 306"/>
              <a:gd name="T101" fmla="*/ 212 h 321"/>
              <a:gd name="T102" fmla="*/ 213 w 306"/>
              <a:gd name="T103" fmla="*/ 210 h 321"/>
              <a:gd name="T104" fmla="*/ 232 w 306"/>
              <a:gd name="T105" fmla="*/ 261 h 321"/>
              <a:gd name="T106" fmla="*/ 259 w 306"/>
              <a:gd name="T107" fmla="*/ 321 h 321"/>
              <a:gd name="T108" fmla="*/ 272 w 306"/>
              <a:gd name="T109" fmla="*/ 311 h 321"/>
              <a:gd name="T110" fmla="*/ 282 w 306"/>
              <a:gd name="T111" fmla="*/ 302 h 321"/>
              <a:gd name="T112" fmla="*/ 295 w 306"/>
              <a:gd name="T113" fmla="*/ 280 h 321"/>
              <a:gd name="T114" fmla="*/ 306 w 306"/>
              <a:gd name="T115" fmla="*/ 235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24" name="Freeform 276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>
              <a:gd name="T0" fmla="*/ 94 w 471"/>
              <a:gd name="T1" fmla="*/ 12 h 518"/>
              <a:gd name="T2" fmla="*/ 67 w 471"/>
              <a:gd name="T3" fmla="*/ 32 h 518"/>
              <a:gd name="T4" fmla="*/ 40 w 471"/>
              <a:gd name="T5" fmla="*/ 49 h 518"/>
              <a:gd name="T6" fmla="*/ 27 w 471"/>
              <a:gd name="T7" fmla="*/ 82 h 518"/>
              <a:gd name="T8" fmla="*/ 8 w 471"/>
              <a:gd name="T9" fmla="*/ 118 h 518"/>
              <a:gd name="T10" fmla="*/ 7 w 471"/>
              <a:gd name="T11" fmla="*/ 136 h 518"/>
              <a:gd name="T12" fmla="*/ 30 w 471"/>
              <a:gd name="T13" fmla="*/ 153 h 518"/>
              <a:gd name="T14" fmla="*/ 50 w 471"/>
              <a:gd name="T15" fmla="*/ 168 h 518"/>
              <a:gd name="T16" fmla="*/ 62 w 471"/>
              <a:gd name="T17" fmla="*/ 172 h 518"/>
              <a:gd name="T18" fmla="*/ 75 w 471"/>
              <a:gd name="T19" fmla="*/ 211 h 518"/>
              <a:gd name="T20" fmla="*/ 84 w 471"/>
              <a:gd name="T21" fmla="*/ 272 h 518"/>
              <a:gd name="T22" fmla="*/ 94 w 471"/>
              <a:gd name="T23" fmla="*/ 299 h 518"/>
              <a:gd name="T24" fmla="*/ 104 w 471"/>
              <a:gd name="T25" fmla="*/ 302 h 518"/>
              <a:gd name="T26" fmla="*/ 112 w 471"/>
              <a:gd name="T27" fmla="*/ 297 h 518"/>
              <a:gd name="T28" fmla="*/ 128 w 471"/>
              <a:gd name="T29" fmla="*/ 268 h 518"/>
              <a:gd name="T30" fmla="*/ 145 w 471"/>
              <a:gd name="T31" fmla="*/ 262 h 518"/>
              <a:gd name="T32" fmla="*/ 160 w 471"/>
              <a:gd name="T33" fmla="*/ 272 h 518"/>
              <a:gd name="T34" fmla="*/ 173 w 471"/>
              <a:gd name="T35" fmla="*/ 277 h 518"/>
              <a:gd name="T36" fmla="*/ 183 w 471"/>
              <a:gd name="T37" fmla="*/ 274 h 518"/>
              <a:gd name="T38" fmla="*/ 192 w 471"/>
              <a:gd name="T39" fmla="*/ 259 h 518"/>
              <a:gd name="T40" fmla="*/ 203 w 471"/>
              <a:gd name="T41" fmla="*/ 244 h 518"/>
              <a:gd name="T42" fmla="*/ 212 w 471"/>
              <a:gd name="T43" fmla="*/ 241 h 518"/>
              <a:gd name="T44" fmla="*/ 241 w 471"/>
              <a:gd name="T45" fmla="*/ 247 h 518"/>
              <a:gd name="T46" fmla="*/ 259 w 471"/>
              <a:gd name="T47" fmla="*/ 271 h 518"/>
              <a:gd name="T48" fmla="*/ 308 w 471"/>
              <a:gd name="T49" fmla="*/ 336 h 518"/>
              <a:gd name="T50" fmla="*/ 341 w 471"/>
              <a:gd name="T51" fmla="*/ 382 h 518"/>
              <a:gd name="T52" fmla="*/ 358 w 471"/>
              <a:gd name="T53" fmla="*/ 419 h 518"/>
              <a:gd name="T54" fmla="*/ 366 w 471"/>
              <a:gd name="T55" fmla="*/ 457 h 518"/>
              <a:gd name="T56" fmla="*/ 359 w 471"/>
              <a:gd name="T57" fmla="*/ 470 h 518"/>
              <a:gd name="T58" fmla="*/ 339 w 471"/>
              <a:gd name="T59" fmla="*/ 487 h 518"/>
              <a:gd name="T60" fmla="*/ 363 w 471"/>
              <a:gd name="T61" fmla="*/ 496 h 518"/>
              <a:gd name="T62" fmla="*/ 392 w 471"/>
              <a:gd name="T63" fmla="*/ 518 h 518"/>
              <a:gd name="T64" fmla="*/ 401 w 471"/>
              <a:gd name="T65" fmla="*/ 499 h 518"/>
              <a:gd name="T66" fmla="*/ 413 w 471"/>
              <a:gd name="T67" fmla="*/ 489 h 518"/>
              <a:gd name="T68" fmla="*/ 444 w 471"/>
              <a:gd name="T69" fmla="*/ 483 h 518"/>
              <a:gd name="T70" fmla="*/ 468 w 471"/>
              <a:gd name="T71" fmla="*/ 438 h 518"/>
              <a:gd name="T72" fmla="*/ 449 w 471"/>
              <a:gd name="T73" fmla="*/ 387 h 518"/>
              <a:gd name="T74" fmla="*/ 421 w 471"/>
              <a:gd name="T75" fmla="*/ 347 h 518"/>
              <a:gd name="T76" fmla="*/ 345 w 471"/>
              <a:gd name="T77" fmla="*/ 277 h 518"/>
              <a:gd name="T78" fmla="*/ 279 w 471"/>
              <a:gd name="T79" fmla="*/ 218 h 518"/>
              <a:gd name="T80" fmla="*/ 224 w 471"/>
              <a:gd name="T81" fmla="*/ 162 h 518"/>
              <a:gd name="T82" fmla="*/ 179 w 471"/>
              <a:gd name="T83" fmla="*/ 105 h 518"/>
              <a:gd name="T84" fmla="*/ 127 w 471"/>
              <a:gd name="T85" fmla="*/ 40 h 518"/>
              <a:gd name="T86" fmla="*/ 115 w 471"/>
              <a:gd name="T87" fmla="*/ 14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25" name="Freeform 277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>
              <a:gd name="T0" fmla="*/ 152 w 293"/>
              <a:gd name="T1" fmla="*/ 19 h 246"/>
              <a:gd name="T2" fmla="*/ 179 w 293"/>
              <a:gd name="T3" fmla="*/ 30 h 246"/>
              <a:gd name="T4" fmla="*/ 196 w 293"/>
              <a:gd name="T5" fmla="*/ 30 h 246"/>
              <a:gd name="T6" fmla="*/ 202 w 293"/>
              <a:gd name="T7" fmla="*/ 18 h 246"/>
              <a:gd name="T8" fmla="*/ 210 w 293"/>
              <a:gd name="T9" fmla="*/ 10 h 246"/>
              <a:gd name="T10" fmla="*/ 219 w 293"/>
              <a:gd name="T11" fmla="*/ 6 h 246"/>
              <a:gd name="T12" fmla="*/ 245 w 293"/>
              <a:gd name="T13" fmla="*/ 2 h 246"/>
              <a:gd name="T14" fmla="*/ 293 w 293"/>
              <a:gd name="T15" fmla="*/ 80 h 246"/>
              <a:gd name="T16" fmla="*/ 266 w 293"/>
              <a:gd name="T17" fmla="*/ 107 h 246"/>
              <a:gd name="T18" fmla="*/ 237 w 293"/>
              <a:gd name="T19" fmla="*/ 141 h 246"/>
              <a:gd name="T20" fmla="*/ 225 w 293"/>
              <a:gd name="T21" fmla="*/ 159 h 246"/>
              <a:gd name="T22" fmla="*/ 215 w 293"/>
              <a:gd name="T23" fmla="*/ 178 h 246"/>
              <a:gd name="T24" fmla="*/ 209 w 293"/>
              <a:gd name="T25" fmla="*/ 197 h 246"/>
              <a:gd name="T26" fmla="*/ 206 w 293"/>
              <a:gd name="T27" fmla="*/ 216 h 246"/>
              <a:gd name="T28" fmla="*/ 196 w 293"/>
              <a:gd name="T29" fmla="*/ 217 h 246"/>
              <a:gd name="T30" fmla="*/ 186 w 293"/>
              <a:gd name="T31" fmla="*/ 220 h 246"/>
              <a:gd name="T32" fmla="*/ 170 w 293"/>
              <a:gd name="T33" fmla="*/ 229 h 246"/>
              <a:gd name="T34" fmla="*/ 154 w 293"/>
              <a:gd name="T35" fmla="*/ 239 h 246"/>
              <a:gd name="T36" fmla="*/ 133 w 293"/>
              <a:gd name="T37" fmla="*/ 246 h 246"/>
              <a:gd name="T38" fmla="*/ 102 w 293"/>
              <a:gd name="T39" fmla="*/ 240 h 246"/>
              <a:gd name="T40" fmla="*/ 71 w 293"/>
              <a:gd name="T41" fmla="*/ 232 h 246"/>
              <a:gd name="T42" fmla="*/ 59 w 293"/>
              <a:gd name="T43" fmla="*/ 226 h 246"/>
              <a:gd name="T44" fmla="*/ 49 w 293"/>
              <a:gd name="T45" fmla="*/ 220 h 246"/>
              <a:gd name="T46" fmla="*/ 43 w 293"/>
              <a:gd name="T47" fmla="*/ 212 h 246"/>
              <a:gd name="T48" fmla="*/ 41 w 293"/>
              <a:gd name="T49" fmla="*/ 204 h 246"/>
              <a:gd name="T50" fmla="*/ 47 w 293"/>
              <a:gd name="T51" fmla="*/ 178 h 246"/>
              <a:gd name="T52" fmla="*/ 45 w 293"/>
              <a:gd name="T53" fmla="*/ 162 h 246"/>
              <a:gd name="T54" fmla="*/ 40 w 293"/>
              <a:gd name="T55" fmla="*/ 147 h 246"/>
              <a:gd name="T56" fmla="*/ 24 w 293"/>
              <a:gd name="T57" fmla="*/ 119 h 246"/>
              <a:gd name="T58" fmla="*/ 8 w 293"/>
              <a:gd name="T59" fmla="*/ 91 h 246"/>
              <a:gd name="T60" fmla="*/ 2 w 293"/>
              <a:gd name="T61" fmla="*/ 74 h 246"/>
              <a:gd name="T62" fmla="*/ 0 w 293"/>
              <a:gd name="T63" fmla="*/ 55 h 246"/>
              <a:gd name="T64" fmla="*/ 2 w 293"/>
              <a:gd name="T65" fmla="*/ 45 h 246"/>
              <a:gd name="T66" fmla="*/ 8 w 293"/>
              <a:gd name="T67" fmla="*/ 36 h 246"/>
              <a:gd name="T68" fmla="*/ 17 w 293"/>
              <a:gd name="T69" fmla="*/ 29 h 246"/>
              <a:gd name="T70" fmla="*/ 26 w 293"/>
              <a:gd name="T71" fmla="*/ 22 h 246"/>
              <a:gd name="T72" fmla="*/ 48 w 293"/>
              <a:gd name="T73" fmla="*/ 14 h 246"/>
              <a:gd name="T74" fmla="*/ 67 w 293"/>
              <a:gd name="T75" fmla="*/ 12 h 246"/>
              <a:gd name="T76" fmla="*/ 96 w 293"/>
              <a:gd name="T77" fmla="*/ 12 h 246"/>
              <a:gd name="T78" fmla="*/ 133 w 293"/>
              <a:gd name="T79" fmla="*/ 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26" name="Freeform 278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>
              <a:gd name="T0" fmla="*/ 18 w 200"/>
              <a:gd name="T1" fmla="*/ 41 h 246"/>
              <a:gd name="T2" fmla="*/ 28 w 200"/>
              <a:gd name="T3" fmla="*/ 26 h 246"/>
              <a:gd name="T4" fmla="*/ 38 w 200"/>
              <a:gd name="T5" fmla="*/ 16 h 246"/>
              <a:gd name="T6" fmla="*/ 50 w 200"/>
              <a:gd name="T7" fmla="*/ 9 h 246"/>
              <a:gd name="T8" fmla="*/ 73 w 200"/>
              <a:gd name="T9" fmla="*/ 1 h 246"/>
              <a:gd name="T10" fmla="*/ 88 w 200"/>
              <a:gd name="T11" fmla="*/ 12 h 246"/>
              <a:gd name="T12" fmla="*/ 108 w 200"/>
              <a:gd name="T13" fmla="*/ 34 h 246"/>
              <a:gd name="T14" fmla="*/ 125 w 200"/>
              <a:gd name="T15" fmla="*/ 50 h 246"/>
              <a:gd name="T16" fmla="*/ 139 w 200"/>
              <a:gd name="T17" fmla="*/ 58 h 246"/>
              <a:gd name="T18" fmla="*/ 152 w 200"/>
              <a:gd name="T19" fmla="*/ 64 h 246"/>
              <a:gd name="T20" fmla="*/ 166 w 200"/>
              <a:gd name="T21" fmla="*/ 67 h 246"/>
              <a:gd name="T22" fmla="*/ 184 w 200"/>
              <a:gd name="T23" fmla="*/ 96 h 246"/>
              <a:gd name="T24" fmla="*/ 195 w 200"/>
              <a:gd name="T25" fmla="*/ 137 h 246"/>
              <a:gd name="T26" fmla="*/ 199 w 200"/>
              <a:gd name="T27" fmla="*/ 165 h 246"/>
              <a:gd name="T28" fmla="*/ 200 w 200"/>
              <a:gd name="T29" fmla="*/ 185 h 246"/>
              <a:gd name="T30" fmla="*/ 198 w 200"/>
              <a:gd name="T31" fmla="*/ 197 h 246"/>
              <a:gd name="T32" fmla="*/ 195 w 200"/>
              <a:gd name="T33" fmla="*/ 207 h 246"/>
              <a:gd name="T34" fmla="*/ 189 w 200"/>
              <a:gd name="T35" fmla="*/ 214 h 246"/>
              <a:gd name="T36" fmla="*/ 179 w 200"/>
              <a:gd name="T37" fmla="*/ 220 h 246"/>
              <a:gd name="T38" fmla="*/ 164 w 200"/>
              <a:gd name="T39" fmla="*/ 224 h 246"/>
              <a:gd name="T40" fmla="*/ 140 w 200"/>
              <a:gd name="T41" fmla="*/ 224 h 246"/>
              <a:gd name="T42" fmla="*/ 118 w 200"/>
              <a:gd name="T43" fmla="*/ 229 h 246"/>
              <a:gd name="T44" fmla="*/ 111 w 200"/>
              <a:gd name="T45" fmla="*/ 235 h 246"/>
              <a:gd name="T46" fmla="*/ 108 w 200"/>
              <a:gd name="T47" fmla="*/ 242 h 246"/>
              <a:gd name="T48" fmla="*/ 98 w 200"/>
              <a:gd name="T49" fmla="*/ 245 h 246"/>
              <a:gd name="T50" fmla="*/ 85 w 200"/>
              <a:gd name="T51" fmla="*/ 240 h 246"/>
              <a:gd name="T52" fmla="*/ 77 w 200"/>
              <a:gd name="T53" fmla="*/ 230 h 246"/>
              <a:gd name="T54" fmla="*/ 73 w 200"/>
              <a:gd name="T55" fmla="*/ 216 h 246"/>
              <a:gd name="T56" fmla="*/ 72 w 200"/>
              <a:gd name="T57" fmla="*/ 192 h 246"/>
              <a:gd name="T58" fmla="*/ 71 w 200"/>
              <a:gd name="T59" fmla="*/ 168 h 246"/>
              <a:gd name="T60" fmla="*/ 69 w 200"/>
              <a:gd name="T61" fmla="*/ 154 h 246"/>
              <a:gd name="T62" fmla="*/ 64 w 200"/>
              <a:gd name="T63" fmla="*/ 142 h 246"/>
              <a:gd name="T64" fmla="*/ 56 w 200"/>
              <a:gd name="T65" fmla="*/ 134 h 246"/>
              <a:gd name="T66" fmla="*/ 40 w 200"/>
              <a:gd name="T67" fmla="*/ 125 h 246"/>
              <a:gd name="T68" fmla="*/ 18 w 200"/>
              <a:gd name="T69" fmla="*/ 115 h 246"/>
              <a:gd name="T70" fmla="*/ 6 w 200"/>
              <a:gd name="T71" fmla="*/ 106 h 246"/>
              <a:gd name="T72" fmla="*/ 1 w 200"/>
              <a:gd name="T73" fmla="*/ 98 h 246"/>
              <a:gd name="T74" fmla="*/ 1 w 200"/>
              <a:gd name="T75" fmla="*/ 87 h 246"/>
              <a:gd name="T76" fmla="*/ 5 w 200"/>
              <a:gd name="T77" fmla="*/ 78 h 246"/>
              <a:gd name="T78" fmla="*/ 10 w 200"/>
              <a:gd name="T79" fmla="*/ 68 h 246"/>
              <a:gd name="T80" fmla="*/ 13 w 200"/>
              <a:gd name="T81" fmla="*/ 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27" name="Freeform 279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>
              <a:gd name="T0" fmla="*/ 91 w 538"/>
              <a:gd name="T1" fmla="*/ 21 h 487"/>
              <a:gd name="T2" fmla="*/ 160 w 538"/>
              <a:gd name="T3" fmla="*/ 47 h 487"/>
              <a:gd name="T4" fmla="*/ 202 w 538"/>
              <a:gd name="T5" fmla="*/ 70 h 487"/>
              <a:gd name="T6" fmla="*/ 253 w 538"/>
              <a:gd name="T7" fmla="*/ 110 h 487"/>
              <a:gd name="T8" fmla="*/ 300 w 538"/>
              <a:gd name="T9" fmla="*/ 136 h 487"/>
              <a:gd name="T10" fmla="*/ 299 w 538"/>
              <a:gd name="T11" fmla="*/ 161 h 487"/>
              <a:gd name="T12" fmla="*/ 347 w 538"/>
              <a:gd name="T13" fmla="*/ 205 h 487"/>
              <a:gd name="T14" fmla="*/ 393 w 538"/>
              <a:gd name="T15" fmla="*/ 248 h 487"/>
              <a:gd name="T16" fmla="*/ 379 w 538"/>
              <a:gd name="T17" fmla="*/ 250 h 487"/>
              <a:gd name="T18" fmla="*/ 372 w 538"/>
              <a:gd name="T19" fmla="*/ 256 h 487"/>
              <a:gd name="T20" fmla="*/ 372 w 538"/>
              <a:gd name="T21" fmla="*/ 278 h 487"/>
              <a:gd name="T22" fmla="*/ 377 w 538"/>
              <a:gd name="T23" fmla="*/ 301 h 487"/>
              <a:gd name="T24" fmla="*/ 389 w 538"/>
              <a:gd name="T25" fmla="*/ 325 h 487"/>
              <a:gd name="T26" fmla="*/ 407 w 538"/>
              <a:gd name="T27" fmla="*/ 348 h 487"/>
              <a:gd name="T28" fmla="*/ 428 w 538"/>
              <a:gd name="T29" fmla="*/ 366 h 487"/>
              <a:gd name="T30" fmla="*/ 451 w 538"/>
              <a:gd name="T31" fmla="*/ 376 h 487"/>
              <a:gd name="T32" fmla="*/ 461 w 538"/>
              <a:gd name="T33" fmla="*/ 390 h 487"/>
              <a:gd name="T34" fmla="*/ 472 w 538"/>
              <a:gd name="T35" fmla="*/ 406 h 487"/>
              <a:gd name="T36" fmla="*/ 489 w 538"/>
              <a:gd name="T37" fmla="*/ 417 h 487"/>
              <a:gd name="T38" fmla="*/ 513 w 538"/>
              <a:gd name="T39" fmla="*/ 432 h 487"/>
              <a:gd name="T40" fmla="*/ 518 w 538"/>
              <a:gd name="T41" fmla="*/ 444 h 487"/>
              <a:gd name="T42" fmla="*/ 525 w 538"/>
              <a:gd name="T43" fmla="*/ 450 h 487"/>
              <a:gd name="T44" fmla="*/ 538 w 538"/>
              <a:gd name="T45" fmla="*/ 456 h 487"/>
              <a:gd name="T46" fmla="*/ 534 w 538"/>
              <a:gd name="T47" fmla="*/ 472 h 487"/>
              <a:gd name="T48" fmla="*/ 519 w 538"/>
              <a:gd name="T49" fmla="*/ 484 h 487"/>
              <a:gd name="T50" fmla="*/ 490 w 538"/>
              <a:gd name="T51" fmla="*/ 487 h 487"/>
              <a:gd name="T52" fmla="*/ 448 w 538"/>
              <a:gd name="T53" fmla="*/ 480 h 487"/>
              <a:gd name="T54" fmla="*/ 414 w 538"/>
              <a:gd name="T55" fmla="*/ 466 h 487"/>
              <a:gd name="T56" fmla="*/ 386 w 538"/>
              <a:gd name="T57" fmla="*/ 446 h 487"/>
              <a:gd name="T58" fmla="*/ 355 w 538"/>
              <a:gd name="T59" fmla="*/ 415 h 487"/>
              <a:gd name="T60" fmla="*/ 312 w 538"/>
              <a:gd name="T61" fmla="*/ 365 h 487"/>
              <a:gd name="T62" fmla="*/ 274 w 538"/>
              <a:gd name="T63" fmla="*/ 330 h 487"/>
              <a:gd name="T64" fmla="*/ 246 w 538"/>
              <a:gd name="T65" fmla="*/ 316 h 487"/>
              <a:gd name="T66" fmla="*/ 212 w 538"/>
              <a:gd name="T67" fmla="*/ 309 h 487"/>
              <a:gd name="T68" fmla="*/ 180 w 538"/>
              <a:gd name="T69" fmla="*/ 310 h 487"/>
              <a:gd name="T70" fmla="*/ 153 w 538"/>
              <a:gd name="T71" fmla="*/ 317 h 487"/>
              <a:gd name="T72" fmla="*/ 113 w 538"/>
              <a:gd name="T73" fmla="*/ 345 h 487"/>
              <a:gd name="T74" fmla="*/ 136 w 538"/>
              <a:gd name="T75" fmla="*/ 361 h 487"/>
              <a:gd name="T76" fmla="*/ 140 w 538"/>
              <a:gd name="T77" fmla="*/ 370 h 487"/>
              <a:gd name="T78" fmla="*/ 124 w 538"/>
              <a:gd name="T79" fmla="*/ 401 h 487"/>
              <a:gd name="T80" fmla="*/ 113 w 538"/>
              <a:gd name="T81" fmla="*/ 414 h 487"/>
              <a:gd name="T82" fmla="*/ 47 w 538"/>
              <a:gd name="T83" fmla="*/ 403 h 487"/>
              <a:gd name="T84" fmla="*/ 20 w 538"/>
              <a:gd name="T85" fmla="*/ 259 h 487"/>
              <a:gd name="T86" fmla="*/ 20 w 538"/>
              <a:gd name="T87" fmla="*/ 0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28" name="Freeform 280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>
              <a:gd name="T0" fmla="*/ 136 w 253"/>
              <a:gd name="T1" fmla="*/ 1 h 246"/>
              <a:gd name="T2" fmla="*/ 157 w 253"/>
              <a:gd name="T3" fmla="*/ 8 h 246"/>
              <a:gd name="T4" fmla="*/ 179 w 253"/>
              <a:gd name="T5" fmla="*/ 21 h 246"/>
              <a:gd name="T6" fmla="*/ 199 w 253"/>
              <a:gd name="T7" fmla="*/ 37 h 246"/>
              <a:gd name="T8" fmla="*/ 218 w 253"/>
              <a:gd name="T9" fmla="*/ 57 h 246"/>
              <a:gd name="T10" fmla="*/ 234 w 253"/>
              <a:gd name="T11" fmla="*/ 76 h 246"/>
              <a:gd name="T12" fmla="*/ 245 w 253"/>
              <a:gd name="T13" fmla="*/ 94 h 246"/>
              <a:gd name="T14" fmla="*/ 252 w 253"/>
              <a:gd name="T15" fmla="*/ 111 h 246"/>
              <a:gd name="T16" fmla="*/ 252 w 253"/>
              <a:gd name="T17" fmla="*/ 128 h 246"/>
              <a:gd name="T18" fmla="*/ 243 w 253"/>
              <a:gd name="T19" fmla="*/ 151 h 246"/>
              <a:gd name="T20" fmla="*/ 229 w 253"/>
              <a:gd name="T21" fmla="*/ 174 h 246"/>
              <a:gd name="T22" fmla="*/ 209 w 253"/>
              <a:gd name="T23" fmla="*/ 195 h 246"/>
              <a:gd name="T24" fmla="*/ 184 w 253"/>
              <a:gd name="T25" fmla="*/ 214 h 246"/>
              <a:gd name="T26" fmla="*/ 157 w 253"/>
              <a:gd name="T27" fmla="*/ 229 h 246"/>
              <a:gd name="T28" fmla="*/ 129 w 253"/>
              <a:gd name="T29" fmla="*/ 240 h 246"/>
              <a:gd name="T30" fmla="*/ 100 w 253"/>
              <a:gd name="T31" fmla="*/ 245 h 246"/>
              <a:gd name="T32" fmla="*/ 74 w 253"/>
              <a:gd name="T33" fmla="*/ 245 h 246"/>
              <a:gd name="T34" fmla="*/ 53 w 253"/>
              <a:gd name="T35" fmla="*/ 240 h 246"/>
              <a:gd name="T36" fmla="*/ 33 w 253"/>
              <a:gd name="T37" fmla="*/ 234 h 246"/>
              <a:gd name="T38" fmla="*/ 11 w 253"/>
              <a:gd name="T39" fmla="*/ 229 h 246"/>
              <a:gd name="T40" fmla="*/ 3 w 253"/>
              <a:gd name="T41" fmla="*/ 219 h 246"/>
              <a:gd name="T42" fmla="*/ 10 w 253"/>
              <a:gd name="T43" fmla="*/ 205 h 246"/>
              <a:gd name="T44" fmla="*/ 22 w 253"/>
              <a:gd name="T45" fmla="*/ 196 h 246"/>
              <a:gd name="T46" fmla="*/ 37 w 253"/>
              <a:gd name="T47" fmla="*/ 191 h 246"/>
              <a:gd name="T48" fmla="*/ 50 w 253"/>
              <a:gd name="T49" fmla="*/ 197 h 246"/>
              <a:gd name="T50" fmla="*/ 60 w 253"/>
              <a:gd name="T51" fmla="*/ 207 h 246"/>
              <a:gd name="T52" fmla="*/ 68 w 253"/>
              <a:gd name="T53" fmla="*/ 201 h 246"/>
              <a:gd name="T54" fmla="*/ 75 w 253"/>
              <a:gd name="T55" fmla="*/ 190 h 246"/>
              <a:gd name="T56" fmla="*/ 84 w 253"/>
              <a:gd name="T57" fmla="*/ 180 h 246"/>
              <a:gd name="T58" fmla="*/ 91 w 253"/>
              <a:gd name="T59" fmla="*/ 181 h 246"/>
              <a:gd name="T60" fmla="*/ 98 w 253"/>
              <a:gd name="T61" fmla="*/ 179 h 246"/>
              <a:gd name="T62" fmla="*/ 106 w 253"/>
              <a:gd name="T63" fmla="*/ 178 h 246"/>
              <a:gd name="T64" fmla="*/ 120 w 253"/>
              <a:gd name="T65" fmla="*/ 174 h 246"/>
              <a:gd name="T66" fmla="*/ 149 w 253"/>
              <a:gd name="T67" fmla="*/ 164 h 246"/>
              <a:gd name="T68" fmla="*/ 179 w 253"/>
              <a:gd name="T69" fmla="*/ 147 h 246"/>
              <a:gd name="T70" fmla="*/ 197 w 253"/>
              <a:gd name="T71" fmla="*/ 135 h 246"/>
              <a:gd name="T72" fmla="*/ 210 w 253"/>
              <a:gd name="T73" fmla="*/ 123 h 246"/>
              <a:gd name="T74" fmla="*/ 218 w 253"/>
              <a:gd name="T75" fmla="*/ 111 h 246"/>
              <a:gd name="T76" fmla="*/ 219 w 253"/>
              <a:gd name="T77" fmla="*/ 98 h 246"/>
              <a:gd name="T78" fmla="*/ 214 w 253"/>
              <a:gd name="T79" fmla="*/ 88 h 246"/>
              <a:gd name="T80" fmla="*/ 210 w 253"/>
              <a:gd name="T81" fmla="*/ 80 h 246"/>
              <a:gd name="T82" fmla="*/ 207 w 253"/>
              <a:gd name="T83" fmla="*/ 72 h 246"/>
              <a:gd name="T84" fmla="*/ 201 w 253"/>
              <a:gd name="T85" fmla="*/ 67 h 246"/>
              <a:gd name="T86" fmla="*/ 191 w 253"/>
              <a:gd name="T87" fmla="*/ 65 h 246"/>
              <a:gd name="T88" fmla="*/ 184 w 253"/>
              <a:gd name="T89" fmla="*/ 61 h 246"/>
              <a:gd name="T90" fmla="*/ 180 w 253"/>
              <a:gd name="T91" fmla="*/ 54 h 246"/>
              <a:gd name="T92" fmla="*/ 140 w 253"/>
              <a:gd name="T93" fmla="*/ 49 h 246"/>
              <a:gd name="T94" fmla="*/ 136 w 253"/>
              <a:gd name="T95" fmla="*/ 44 h 246"/>
              <a:gd name="T96" fmla="*/ 136 w 253"/>
              <a:gd name="T97" fmla="*/ 36 h 246"/>
              <a:gd name="T98" fmla="*/ 140 w 253"/>
              <a:gd name="T99" fmla="*/ 18 h 246"/>
              <a:gd name="T100" fmla="*/ 110 w 253"/>
              <a:gd name="T101" fmla="*/ 11 h 246"/>
              <a:gd name="T102" fmla="*/ 97 w 253"/>
              <a:gd name="T103" fmla="*/ 12 h 246"/>
              <a:gd name="T104" fmla="*/ 86 w 253"/>
              <a:gd name="T105" fmla="*/ 18 h 246"/>
              <a:gd name="T106" fmla="*/ 104 w 253"/>
              <a:gd name="T107" fmla="*/ 5 h 246"/>
              <a:gd name="T108" fmla="*/ 113 w 253"/>
              <a:gd name="T109" fmla="*/ 1 h 246"/>
              <a:gd name="T110" fmla="*/ 127 w 253"/>
              <a:gd name="T111" fmla="*/ 0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29" name="Freeform 281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>
              <a:gd name="T0" fmla="*/ 41 w 141"/>
              <a:gd name="T1" fmla="*/ 228 h 228"/>
              <a:gd name="T2" fmla="*/ 36 w 141"/>
              <a:gd name="T3" fmla="*/ 220 h 228"/>
              <a:gd name="T4" fmla="*/ 29 w 141"/>
              <a:gd name="T5" fmla="*/ 208 h 228"/>
              <a:gd name="T6" fmla="*/ 22 w 141"/>
              <a:gd name="T7" fmla="*/ 194 h 228"/>
              <a:gd name="T8" fmla="*/ 16 w 141"/>
              <a:gd name="T9" fmla="*/ 178 h 228"/>
              <a:gd name="T10" fmla="*/ 10 w 141"/>
              <a:gd name="T11" fmla="*/ 163 h 228"/>
              <a:gd name="T12" fmla="*/ 5 w 141"/>
              <a:gd name="T13" fmla="*/ 148 h 228"/>
              <a:gd name="T14" fmla="*/ 2 w 141"/>
              <a:gd name="T15" fmla="*/ 135 h 228"/>
              <a:gd name="T16" fmla="*/ 0 w 141"/>
              <a:gd name="T17" fmla="*/ 123 h 228"/>
              <a:gd name="T18" fmla="*/ 2 w 141"/>
              <a:gd name="T19" fmla="*/ 104 h 228"/>
              <a:gd name="T20" fmla="*/ 4 w 141"/>
              <a:gd name="T21" fmla="*/ 87 h 228"/>
              <a:gd name="T22" fmla="*/ 6 w 141"/>
              <a:gd name="T23" fmla="*/ 70 h 228"/>
              <a:gd name="T24" fmla="*/ 9 w 141"/>
              <a:gd name="T25" fmla="*/ 55 h 228"/>
              <a:gd name="T26" fmla="*/ 18 w 141"/>
              <a:gd name="T27" fmla="*/ 28 h 228"/>
              <a:gd name="T28" fmla="*/ 28 w 141"/>
              <a:gd name="T29" fmla="*/ 0 h 228"/>
              <a:gd name="T30" fmla="*/ 45 w 141"/>
              <a:gd name="T31" fmla="*/ 16 h 228"/>
              <a:gd name="T32" fmla="*/ 62 w 141"/>
              <a:gd name="T33" fmla="*/ 28 h 228"/>
              <a:gd name="T34" fmla="*/ 76 w 141"/>
              <a:gd name="T35" fmla="*/ 37 h 228"/>
              <a:gd name="T36" fmla="*/ 89 w 141"/>
              <a:gd name="T37" fmla="*/ 48 h 228"/>
              <a:gd name="T38" fmla="*/ 95 w 141"/>
              <a:gd name="T39" fmla="*/ 55 h 228"/>
              <a:gd name="T40" fmla="*/ 101 w 141"/>
              <a:gd name="T41" fmla="*/ 63 h 228"/>
              <a:gd name="T42" fmla="*/ 107 w 141"/>
              <a:gd name="T43" fmla="*/ 74 h 228"/>
              <a:gd name="T44" fmla="*/ 114 w 141"/>
              <a:gd name="T45" fmla="*/ 86 h 228"/>
              <a:gd name="T46" fmla="*/ 120 w 141"/>
              <a:gd name="T47" fmla="*/ 100 h 228"/>
              <a:gd name="T48" fmla="*/ 127 w 141"/>
              <a:gd name="T49" fmla="*/ 117 h 228"/>
              <a:gd name="T50" fmla="*/ 133 w 141"/>
              <a:gd name="T51" fmla="*/ 138 h 228"/>
              <a:gd name="T52" fmla="*/ 141 w 141"/>
              <a:gd name="T53" fmla="*/ 161 h 228"/>
              <a:gd name="T54" fmla="*/ 140 w 141"/>
              <a:gd name="T55" fmla="*/ 169 h 228"/>
              <a:gd name="T56" fmla="*/ 138 w 141"/>
              <a:gd name="T57" fmla="*/ 177 h 228"/>
              <a:gd name="T58" fmla="*/ 135 w 141"/>
              <a:gd name="T59" fmla="*/ 186 h 228"/>
              <a:gd name="T60" fmla="*/ 131 w 141"/>
              <a:gd name="T61" fmla="*/ 192 h 228"/>
              <a:gd name="T62" fmla="*/ 127 w 141"/>
              <a:gd name="T63" fmla="*/ 199 h 228"/>
              <a:gd name="T64" fmla="*/ 121 w 141"/>
              <a:gd name="T65" fmla="*/ 204 h 228"/>
              <a:gd name="T66" fmla="*/ 115 w 141"/>
              <a:gd name="T67" fmla="*/ 209 h 228"/>
              <a:gd name="T68" fmla="*/ 108 w 141"/>
              <a:gd name="T69" fmla="*/ 213 h 228"/>
              <a:gd name="T70" fmla="*/ 100 w 141"/>
              <a:gd name="T71" fmla="*/ 217 h 228"/>
              <a:gd name="T72" fmla="*/ 93 w 141"/>
              <a:gd name="T73" fmla="*/ 220 h 228"/>
              <a:gd name="T74" fmla="*/ 85 w 141"/>
              <a:gd name="T75" fmla="*/ 223 h 228"/>
              <a:gd name="T76" fmla="*/ 76 w 141"/>
              <a:gd name="T77" fmla="*/ 225 h 228"/>
              <a:gd name="T78" fmla="*/ 59 w 141"/>
              <a:gd name="T79" fmla="*/ 227 h 228"/>
              <a:gd name="T80" fmla="*/ 41 w 141"/>
              <a:gd name="T81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330" name="Group 282"/>
          <p:cNvGrpSpPr>
            <a:grpSpLocks/>
          </p:cNvGrpSpPr>
          <p:nvPr>
            <p:custDataLst>
              <p:tags r:id="rId208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</p:grpSpPr>
        <p:sp>
          <p:nvSpPr>
            <p:cNvPr id="2331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39 w 60"/>
                <a:gd name="T1" fmla="*/ 110 h 110"/>
                <a:gd name="T2" fmla="*/ 42 w 60"/>
                <a:gd name="T3" fmla="*/ 109 h 110"/>
                <a:gd name="T4" fmla="*/ 46 w 60"/>
                <a:gd name="T5" fmla="*/ 106 h 110"/>
                <a:gd name="T6" fmla="*/ 49 w 60"/>
                <a:gd name="T7" fmla="*/ 101 h 110"/>
                <a:gd name="T8" fmla="*/ 52 w 60"/>
                <a:gd name="T9" fmla="*/ 96 h 110"/>
                <a:gd name="T10" fmla="*/ 54 w 60"/>
                <a:gd name="T11" fmla="*/ 90 h 110"/>
                <a:gd name="T12" fmla="*/ 57 w 60"/>
                <a:gd name="T13" fmla="*/ 84 h 110"/>
                <a:gd name="T14" fmla="*/ 59 w 60"/>
                <a:gd name="T15" fmla="*/ 78 h 110"/>
                <a:gd name="T16" fmla="*/ 60 w 60"/>
                <a:gd name="T17" fmla="*/ 73 h 110"/>
                <a:gd name="T18" fmla="*/ 59 w 60"/>
                <a:gd name="T19" fmla="*/ 60 h 110"/>
                <a:gd name="T20" fmla="*/ 58 w 60"/>
                <a:gd name="T21" fmla="*/ 48 h 110"/>
                <a:gd name="T22" fmla="*/ 57 w 60"/>
                <a:gd name="T23" fmla="*/ 38 h 110"/>
                <a:gd name="T24" fmla="*/ 54 w 60"/>
                <a:gd name="T25" fmla="*/ 29 h 110"/>
                <a:gd name="T26" fmla="*/ 51 w 60"/>
                <a:gd name="T27" fmla="*/ 21 h 110"/>
                <a:gd name="T28" fmla="*/ 48 w 60"/>
                <a:gd name="T29" fmla="*/ 13 h 110"/>
                <a:gd name="T30" fmla="*/ 45 w 60"/>
                <a:gd name="T31" fmla="*/ 6 h 110"/>
                <a:gd name="T32" fmla="*/ 39 w 60"/>
                <a:gd name="T33" fmla="*/ 0 h 110"/>
                <a:gd name="T34" fmla="*/ 35 w 60"/>
                <a:gd name="T35" fmla="*/ 3 h 110"/>
                <a:gd name="T36" fmla="*/ 30 w 60"/>
                <a:gd name="T37" fmla="*/ 8 h 110"/>
                <a:gd name="T38" fmla="*/ 27 w 60"/>
                <a:gd name="T39" fmla="*/ 13 h 110"/>
                <a:gd name="T40" fmla="*/ 24 w 60"/>
                <a:gd name="T41" fmla="*/ 18 h 110"/>
                <a:gd name="T42" fmla="*/ 18 w 60"/>
                <a:gd name="T43" fmla="*/ 29 h 110"/>
                <a:gd name="T44" fmla="*/ 15 w 60"/>
                <a:gd name="T45" fmla="*/ 40 h 110"/>
                <a:gd name="T46" fmla="*/ 10 w 60"/>
                <a:gd name="T47" fmla="*/ 51 h 110"/>
                <a:gd name="T48" fmla="*/ 7 w 60"/>
                <a:gd name="T49" fmla="*/ 62 h 110"/>
                <a:gd name="T50" fmla="*/ 6 w 60"/>
                <a:gd name="T51" fmla="*/ 66 h 110"/>
                <a:gd name="T52" fmla="*/ 4 w 60"/>
                <a:gd name="T53" fmla="*/ 69 h 110"/>
                <a:gd name="T54" fmla="*/ 2 w 60"/>
                <a:gd name="T55" fmla="*/ 72 h 110"/>
                <a:gd name="T56" fmla="*/ 0 w 60"/>
                <a:gd name="T57" fmla="*/ 73 h 110"/>
                <a:gd name="T58" fmla="*/ 1 w 60"/>
                <a:gd name="T59" fmla="*/ 78 h 110"/>
                <a:gd name="T60" fmla="*/ 3 w 60"/>
                <a:gd name="T61" fmla="*/ 84 h 110"/>
                <a:gd name="T62" fmla="*/ 7 w 60"/>
                <a:gd name="T63" fmla="*/ 90 h 110"/>
                <a:gd name="T64" fmla="*/ 12 w 60"/>
                <a:gd name="T65" fmla="*/ 96 h 110"/>
                <a:gd name="T66" fmla="*/ 18 w 60"/>
                <a:gd name="T67" fmla="*/ 101 h 110"/>
                <a:gd name="T68" fmla="*/ 25 w 60"/>
                <a:gd name="T69" fmla="*/ 106 h 110"/>
                <a:gd name="T70" fmla="*/ 32 w 60"/>
                <a:gd name="T71" fmla="*/ 109 h 110"/>
                <a:gd name="T72" fmla="*/ 39 w 60"/>
                <a:gd name="T7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32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3 h 75"/>
                <a:gd name="T2" fmla="*/ 8 w 72"/>
                <a:gd name="T3" fmla="*/ 18 h 75"/>
                <a:gd name="T4" fmla="*/ 15 w 72"/>
                <a:gd name="T5" fmla="*/ 25 h 75"/>
                <a:gd name="T6" fmla="*/ 23 w 72"/>
                <a:gd name="T7" fmla="*/ 32 h 75"/>
                <a:gd name="T8" fmla="*/ 31 w 72"/>
                <a:gd name="T9" fmla="*/ 40 h 75"/>
                <a:gd name="T10" fmla="*/ 37 w 72"/>
                <a:gd name="T11" fmla="*/ 48 h 75"/>
                <a:gd name="T12" fmla="*/ 42 w 72"/>
                <a:gd name="T13" fmla="*/ 57 h 75"/>
                <a:gd name="T14" fmla="*/ 45 w 72"/>
                <a:gd name="T15" fmla="*/ 65 h 75"/>
                <a:gd name="T16" fmla="*/ 46 w 72"/>
                <a:gd name="T17" fmla="*/ 75 h 75"/>
                <a:gd name="T18" fmla="*/ 72 w 72"/>
                <a:gd name="T19" fmla="*/ 75 h 75"/>
                <a:gd name="T20" fmla="*/ 65 w 72"/>
                <a:gd name="T21" fmla="*/ 50 h 75"/>
                <a:gd name="T22" fmla="*/ 60 w 72"/>
                <a:gd name="T23" fmla="*/ 34 h 75"/>
                <a:gd name="T24" fmla="*/ 60 w 72"/>
                <a:gd name="T25" fmla="*/ 27 h 75"/>
                <a:gd name="T26" fmla="*/ 63 w 72"/>
                <a:gd name="T27" fmla="*/ 19 h 75"/>
                <a:gd name="T28" fmla="*/ 67 w 72"/>
                <a:gd name="T29" fmla="*/ 11 h 75"/>
                <a:gd name="T30" fmla="*/ 72 w 72"/>
                <a:gd name="T31" fmla="*/ 1 h 75"/>
                <a:gd name="T32" fmla="*/ 52 w 72"/>
                <a:gd name="T33" fmla="*/ 0 h 75"/>
                <a:gd name="T34" fmla="*/ 32 w 72"/>
                <a:gd name="T35" fmla="*/ 0 h 75"/>
                <a:gd name="T36" fmla="*/ 22 w 72"/>
                <a:gd name="T37" fmla="*/ 1 h 75"/>
                <a:gd name="T38" fmla="*/ 13 w 72"/>
                <a:gd name="T39" fmla="*/ 3 h 75"/>
                <a:gd name="T40" fmla="*/ 9 w 72"/>
                <a:gd name="T41" fmla="*/ 5 h 75"/>
                <a:gd name="T42" fmla="*/ 6 w 72"/>
                <a:gd name="T43" fmla="*/ 7 h 75"/>
                <a:gd name="T44" fmla="*/ 2 w 72"/>
                <a:gd name="T45" fmla="*/ 10 h 75"/>
                <a:gd name="T46" fmla="*/ 0 w 72"/>
                <a:gd name="T47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33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15 w 15"/>
                <a:gd name="T1" fmla="*/ 49 h 49"/>
                <a:gd name="T2" fmla="*/ 15 w 15"/>
                <a:gd name="T3" fmla="*/ 33 h 49"/>
                <a:gd name="T4" fmla="*/ 15 w 15"/>
                <a:gd name="T5" fmla="*/ 19 h 49"/>
                <a:gd name="T6" fmla="*/ 14 w 15"/>
                <a:gd name="T7" fmla="*/ 13 h 49"/>
                <a:gd name="T8" fmla="*/ 13 w 15"/>
                <a:gd name="T9" fmla="*/ 7 h 49"/>
                <a:gd name="T10" fmla="*/ 11 w 15"/>
                <a:gd name="T11" fmla="*/ 3 h 49"/>
                <a:gd name="T12" fmla="*/ 9 w 15"/>
                <a:gd name="T13" fmla="*/ 0 h 49"/>
                <a:gd name="T14" fmla="*/ 4 w 15"/>
                <a:gd name="T15" fmla="*/ 7 h 49"/>
                <a:gd name="T16" fmla="*/ 2 w 15"/>
                <a:gd name="T17" fmla="*/ 15 h 49"/>
                <a:gd name="T18" fmla="*/ 0 w 15"/>
                <a:gd name="T19" fmla="*/ 23 h 49"/>
                <a:gd name="T20" fmla="*/ 0 w 15"/>
                <a:gd name="T21" fmla="*/ 30 h 49"/>
                <a:gd name="T22" fmla="*/ 1 w 15"/>
                <a:gd name="T23" fmla="*/ 36 h 49"/>
                <a:gd name="T24" fmla="*/ 4 w 15"/>
                <a:gd name="T25" fmla="*/ 42 h 49"/>
                <a:gd name="T26" fmla="*/ 7 w 15"/>
                <a:gd name="T27" fmla="*/ 44 h 49"/>
                <a:gd name="T28" fmla="*/ 9 w 15"/>
                <a:gd name="T29" fmla="*/ 46 h 49"/>
                <a:gd name="T30" fmla="*/ 12 w 15"/>
                <a:gd name="T31" fmla="*/ 48 h 49"/>
                <a:gd name="T32" fmla="*/ 15 w 15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34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0 w 47"/>
                <a:gd name="T1" fmla="*/ 6 h 40"/>
                <a:gd name="T2" fmla="*/ 0 w 47"/>
                <a:gd name="T3" fmla="*/ 37 h 40"/>
                <a:gd name="T4" fmla="*/ 6 w 47"/>
                <a:gd name="T5" fmla="*/ 39 h 40"/>
                <a:gd name="T6" fmla="*/ 12 w 47"/>
                <a:gd name="T7" fmla="*/ 40 h 40"/>
                <a:gd name="T8" fmla="*/ 19 w 47"/>
                <a:gd name="T9" fmla="*/ 39 h 40"/>
                <a:gd name="T10" fmla="*/ 26 w 47"/>
                <a:gd name="T11" fmla="*/ 38 h 40"/>
                <a:gd name="T12" fmla="*/ 32 w 47"/>
                <a:gd name="T13" fmla="*/ 36 h 40"/>
                <a:gd name="T14" fmla="*/ 39 w 47"/>
                <a:gd name="T15" fmla="*/ 33 h 40"/>
                <a:gd name="T16" fmla="*/ 43 w 47"/>
                <a:gd name="T17" fmla="*/ 30 h 40"/>
                <a:gd name="T18" fmla="*/ 47 w 47"/>
                <a:gd name="T19" fmla="*/ 25 h 40"/>
                <a:gd name="T20" fmla="*/ 47 w 47"/>
                <a:gd name="T21" fmla="*/ 0 h 40"/>
                <a:gd name="T22" fmla="*/ 41 w 47"/>
                <a:gd name="T23" fmla="*/ 0 h 40"/>
                <a:gd name="T24" fmla="*/ 33 w 47"/>
                <a:gd name="T25" fmla="*/ 1 h 40"/>
                <a:gd name="T26" fmla="*/ 26 w 47"/>
                <a:gd name="T27" fmla="*/ 3 h 40"/>
                <a:gd name="T28" fmla="*/ 20 w 47"/>
                <a:gd name="T29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35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3 w 39"/>
                <a:gd name="T3" fmla="*/ 8 h 31"/>
                <a:gd name="T4" fmla="*/ 6 w 39"/>
                <a:gd name="T5" fmla="*/ 13 h 31"/>
                <a:gd name="T6" fmla="*/ 12 w 39"/>
                <a:gd name="T7" fmla="*/ 19 h 31"/>
                <a:gd name="T8" fmla="*/ 17 w 39"/>
                <a:gd name="T9" fmla="*/ 23 h 31"/>
                <a:gd name="T10" fmla="*/ 23 w 39"/>
                <a:gd name="T11" fmla="*/ 26 h 31"/>
                <a:gd name="T12" fmla="*/ 28 w 39"/>
                <a:gd name="T13" fmla="*/ 29 h 31"/>
                <a:gd name="T14" fmla="*/ 34 w 39"/>
                <a:gd name="T15" fmla="*/ 31 h 31"/>
                <a:gd name="T16" fmla="*/ 39 w 39"/>
                <a:gd name="T17" fmla="*/ 31 h 31"/>
                <a:gd name="T18" fmla="*/ 33 w 39"/>
                <a:gd name="T19" fmla="*/ 22 h 31"/>
                <a:gd name="T20" fmla="*/ 25 w 39"/>
                <a:gd name="T21" fmla="*/ 14 h 31"/>
                <a:gd name="T22" fmla="*/ 16 w 39"/>
                <a:gd name="T23" fmla="*/ 7 h 31"/>
                <a:gd name="T24" fmla="*/ 6 w 39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36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4 w 34"/>
                <a:gd name="T3" fmla="*/ 19 h 19"/>
                <a:gd name="T4" fmla="*/ 34 w 34"/>
                <a:gd name="T5" fmla="*/ 0 h 19"/>
                <a:gd name="T6" fmla="*/ 24 w 34"/>
                <a:gd name="T7" fmla="*/ 0 h 19"/>
                <a:gd name="T8" fmla="*/ 14 w 34"/>
                <a:gd name="T9" fmla="*/ 0 h 19"/>
                <a:gd name="T10" fmla="*/ 7 w 34"/>
                <a:gd name="T11" fmla="*/ 0 h 19"/>
                <a:gd name="T12" fmla="*/ 0 w 34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37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19 w 19"/>
                <a:gd name="T3" fmla="*/ 12 h 12"/>
                <a:gd name="T4" fmla="*/ 13 w 19"/>
                <a:gd name="T5" fmla="*/ 6 h 12"/>
                <a:gd name="T6" fmla="*/ 6 w 19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38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13 w 126"/>
                <a:gd name="T1" fmla="*/ 0 h 166"/>
                <a:gd name="T2" fmla="*/ 117 w 126"/>
                <a:gd name="T3" fmla="*/ 5 h 166"/>
                <a:gd name="T4" fmla="*/ 121 w 126"/>
                <a:gd name="T5" fmla="*/ 10 h 166"/>
                <a:gd name="T6" fmla="*/ 124 w 126"/>
                <a:gd name="T7" fmla="*/ 13 h 166"/>
                <a:gd name="T8" fmla="*/ 125 w 126"/>
                <a:gd name="T9" fmla="*/ 17 h 166"/>
                <a:gd name="T10" fmla="*/ 126 w 126"/>
                <a:gd name="T11" fmla="*/ 20 h 166"/>
                <a:gd name="T12" fmla="*/ 126 w 126"/>
                <a:gd name="T13" fmla="*/ 25 h 166"/>
                <a:gd name="T14" fmla="*/ 123 w 126"/>
                <a:gd name="T15" fmla="*/ 32 h 166"/>
                <a:gd name="T16" fmla="*/ 118 w 126"/>
                <a:gd name="T17" fmla="*/ 41 h 166"/>
                <a:gd name="T18" fmla="*/ 113 w 126"/>
                <a:gd name="T19" fmla="*/ 50 h 166"/>
                <a:gd name="T20" fmla="*/ 106 w 126"/>
                <a:gd name="T21" fmla="*/ 61 h 166"/>
                <a:gd name="T22" fmla="*/ 91 w 126"/>
                <a:gd name="T23" fmla="*/ 83 h 166"/>
                <a:gd name="T24" fmla="*/ 72 w 126"/>
                <a:gd name="T25" fmla="*/ 104 h 166"/>
                <a:gd name="T26" fmla="*/ 53 w 126"/>
                <a:gd name="T27" fmla="*/ 126 h 166"/>
                <a:gd name="T28" fmla="*/ 34 w 126"/>
                <a:gd name="T29" fmla="*/ 144 h 166"/>
                <a:gd name="T30" fmla="*/ 25 w 126"/>
                <a:gd name="T31" fmla="*/ 152 h 166"/>
                <a:gd name="T32" fmla="*/ 16 w 126"/>
                <a:gd name="T33" fmla="*/ 158 h 166"/>
                <a:gd name="T34" fmla="*/ 7 w 126"/>
                <a:gd name="T35" fmla="*/ 163 h 166"/>
                <a:gd name="T36" fmla="*/ 0 w 126"/>
                <a:gd name="T37" fmla="*/ 166 h 166"/>
                <a:gd name="T38" fmla="*/ 0 w 126"/>
                <a:gd name="T39" fmla="*/ 160 h 166"/>
                <a:gd name="T40" fmla="*/ 0 w 126"/>
                <a:gd name="T41" fmla="*/ 153 h 166"/>
                <a:gd name="T42" fmla="*/ 0 w 126"/>
                <a:gd name="T43" fmla="*/ 145 h 166"/>
                <a:gd name="T44" fmla="*/ 0 w 126"/>
                <a:gd name="T45" fmla="*/ 136 h 166"/>
                <a:gd name="T46" fmla="*/ 3 w 126"/>
                <a:gd name="T47" fmla="*/ 131 h 166"/>
                <a:gd name="T48" fmla="*/ 6 w 126"/>
                <a:gd name="T49" fmla="*/ 128 h 166"/>
                <a:gd name="T50" fmla="*/ 12 w 126"/>
                <a:gd name="T51" fmla="*/ 124 h 166"/>
                <a:gd name="T52" fmla="*/ 16 w 126"/>
                <a:gd name="T53" fmla="*/ 121 h 166"/>
                <a:gd name="T54" fmla="*/ 26 w 126"/>
                <a:gd name="T55" fmla="*/ 116 h 166"/>
                <a:gd name="T56" fmla="*/ 33 w 126"/>
                <a:gd name="T57" fmla="*/ 110 h 166"/>
                <a:gd name="T58" fmla="*/ 40 w 126"/>
                <a:gd name="T59" fmla="*/ 104 h 166"/>
                <a:gd name="T60" fmla="*/ 48 w 126"/>
                <a:gd name="T61" fmla="*/ 96 h 166"/>
                <a:gd name="T62" fmla="*/ 53 w 126"/>
                <a:gd name="T63" fmla="*/ 89 h 166"/>
                <a:gd name="T64" fmla="*/ 58 w 126"/>
                <a:gd name="T65" fmla="*/ 82 h 166"/>
                <a:gd name="T66" fmla="*/ 67 w 126"/>
                <a:gd name="T67" fmla="*/ 66 h 166"/>
                <a:gd name="T68" fmla="*/ 72 w 126"/>
                <a:gd name="T69" fmla="*/ 50 h 166"/>
                <a:gd name="T70" fmla="*/ 79 w 126"/>
                <a:gd name="T71" fmla="*/ 36 h 166"/>
                <a:gd name="T72" fmla="*/ 87 w 126"/>
                <a:gd name="T73" fmla="*/ 23 h 166"/>
                <a:gd name="T74" fmla="*/ 92 w 126"/>
                <a:gd name="T75" fmla="*/ 16 h 166"/>
                <a:gd name="T76" fmla="*/ 97 w 126"/>
                <a:gd name="T77" fmla="*/ 11 h 166"/>
                <a:gd name="T78" fmla="*/ 104 w 126"/>
                <a:gd name="T79" fmla="*/ 5 h 166"/>
                <a:gd name="T80" fmla="*/ 113 w 126"/>
                <a:gd name="T8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39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8 w 259"/>
                <a:gd name="T1" fmla="*/ 182 h 259"/>
                <a:gd name="T2" fmla="*/ 1 w 259"/>
                <a:gd name="T3" fmla="*/ 163 h 259"/>
                <a:gd name="T4" fmla="*/ 0 w 259"/>
                <a:gd name="T5" fmla="*/ 142 h 259"/>
                <a:gd name="T6" fmla="*/ 6 w 259"/>
                <a:gd name="T7" fmla="*/ 130 h 259"/>
                <a:gd name="T8" fmla="*/ 19 w 259"/>
                <a:gd name="T9" fmla="*/ 126 h 259"/>
                <a:gd name="T10" fmla="*/ 34 w 259"/>
                <a:gd name="T11" fmla="*/ 117 h 259"/>
                <a:gd name="T12" fmla="*/ 48 w 259"/>
                <a:gd name="T13" fmla="*/ 100 h 259"/>
                <a:gd name="T14" fmla="*/ 60 w 259"/>
                <a:gd name="T15" fmla="*/ 91 h 259"/>
                <a:gd name="T16" fmla="*/ 68 w 259"/>
                <a:gd name="T17" fmla="*/ 87 h 259"/>
                <a:gd name="T18" fmla="*/ 83 w 259"/>
                <a:gd name="T19" fmla="*/ 87 h 259"/>
                <a:gd name="T20" fmla="*/ 94 w 259"/>
                <a:gd name="T21" fmla="*/ 93 h 259"/>
                <a:gd name="T22" fmla="*/ 101 w 259"/>
                <a:gd name="T23" fmla="*/ 105 h 259"/>
                <a:gd name="T24" fmla="*/ 108 w 259"/>
                <a:gd name="T25" fmla="*/ 110 h 259"/>
                <a:gd name="T26" fmla="*/ 120 w 259"/>
                <a:gd name="T27" fmla="*/ 110 h 259"/>
                <a:gd name="T28" fmla="*/ 135 w 259"/>
                <a:gd name="T29" fmla="*/ 104 h 259"/>
                <a:gd name="T30" fmla="*/ 148 w 259"/>
                <a:gd name="T31" fmla="*/ 93 h 259"/>
                <a:gd name="T32" fmla="*/ 160 w 259"/>
                <a:gd name="T33" fmla="*/ 78 h 259"/>
                <a:gd name="T34" fmla="*/ 174 w 259"/>
                <a:gd name="T35" fmla="*/ 51 h 259"/>
                <a:gd name="T36" fmla="*/ 188 w 259"/>
                <a:gd name="T37" fmla="*/ 16 h 259"/>
                <a:gd name="T38" fmla="*/ 195 w 259"/>
                <a:gd name="T39" fmla="*/ 4 h 259"/>
                <a:gd name="T40" fmla="*/ 202 w 259"/>
                <a:gd name="T41" fmla="*/ 12 h 259"/>
                <a:gd name="T42" fmla="*/ 213 w 259"/>
                <a:gd name="T43" fmla="*/ 18 h 259"/>
                <a:gd name="T44" fmla="*/ 219 w 259"/>
                <a:gd name="T45" fmla="*/ 32 h 259"/>
                <a:gd name="T46" fmla="*/ 219 w 259"/>
                <a:gd name="T47" fmla="*/ 52 h 259"/>
                <a:gd name="T48" fmla="*/ 227 w 259"/>
                <a:gd name="T49" fmla="*/ 61 h 259"/>
                <a:gd name="T50" fmla="*/ 234 w 259"/>
                <a:gd name="T51" fmla="*/ 70 h 259"/>
                <a:gd name="T52" fmla="*/ 234 w 259"/>
                <a:gd name="T53" fmla="*/ 88 h 259"/>
                <a:gd name="T54" fmla="*/ 234 w 259"/>
                <a:gd name="T55" fmla="*/ 104 h 259"/>
                <a:gd name="T56" fmla="*/ 237 w 259"/>
                <a:gd name="T57" fmla="*/ 110 h 259"/>
                <a:gd name="T58" fmla="*/ 243 w 259"/>
                <a:gd name="T59" fmla="*/ 121 h 259"/>
                <a:gd name="T60" fmla="*/ 249 w 259"/>
                <a:gd name="T61" fmla="*/ 137 h 259"/>
                <a:gd name="T62" fmla="*/ 254 w 259"/>
                <a:gd name="T63" fmla="*/ 161 h 259"/>
                <a:gd name="T64" fmla="*/ 245 w 259"/>
                <a:gd name="T65" fmla="*/ 235 h 259"/>
                <a:gd name="T66" fmla="*/ 239 w 259"/>
                <a:gd name="T67" fmla="*/ 222 h 259"/>
                <a:gd name="T68" fmla="*/ 237 w 259"/>
                <a:gd name="T69" fmla="*/ 208 h 259"/>
                <a:gd name="T70" fmla="*/ 239 w 259"/>
                <a:gd name="T71" fmla="*/ 192 h 259"/>
                <a:gd name="T72" fmla="*/ 222 w 259"/>
                <a:gd name="T73" fmla="*/ 188 h 259"/>
                <a:gd name="T74" fmla="*/ 206 w 259"/>
                <a:gd name="T75" fmla="*/ 179 h 259"/>
                <a:gd name="T76" fmla="*/ 194 w 259"/>
                <a:gd name="T77" fmla="*/ 199 h 259"/>
                <a:gd name="T78" fmla="*/ 188 w 259"/>
                <a:gd name="T79" fmla="*/ 219 h 259"/>
                <a:gd name="T80" fmla="*/ 185 w 259"/>
                <a:gd name="T81" fmla="*/ 259 h 259"/>
                <a:gd name="T82" fmla="*/ 124 w 259"/>
                <a:gd name="T83" fmla="*/ 242 h 259"/>
                <a:gd name="T84" fmla="*/ 110 w 259"/>
                <a:gd name="T85" fmla="*/ 220 h 259"/>
                <a:gd name="T86" fmla="*/ 99 w 259"/>
                <a:gd name="T87" fmla="*/ 209 h 259"/>
                <a:gd name="T88" fmla="*/ 97 w 259"/>
                <a:gd name="T89" fmla="*/ 196 h 259"/>
                <a:gd name="T90" fmla="*/ 105 w 259"/>
                <a:gd name="T91" fmla="*/ 186 h 259"/>
                <a:gd name="T92" fmla="*/ 112 w 259"/>
                <a:gd name="T93" fmla="*/ 180 h 259"/>
                <a:gd name="T94" fmla="*/ 117 w 259"/>
                <a:gd name="T95" fmla="*/ 173 h 259"/>
                <a:gd name="T96" fmla="*/ 93 w 259"/>
                <a:gd name="T97" fmla="*/ 154 h 259"/>
                <a:gd name="T98" fmla="*/ 28 w 259"/>
                <a:gd name="T99" fmla="*/ 155 h 259"/>
                <a:gd name="T100" fmla="*/ 20 w 259"/>
                <a:gd name="T101" fmla="*/ 163 h 259"/>
                <a:gd name="T102" fmla="*/ 16 w 259"/>
                <a:gd name="T103" fmla="*/ 175 h 259"/>
                <a:gd name="T104" fmla="*/ 13 w 259"/>
                <a:gd name="T105" fmla="*/ 18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0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2 w 72"/>
                <a:gd name="T1" fmla="*/ 43 h 92"/>
                <a:gd name="T2" fmla="*/ 72 w 72"/>
                <a:gd name="T3" fmla="*/ 92 h 92"/>
                <a:gd name="T4" fmla="*/ 65 w 72"/>
                <a:gd name="T5" fmla="*/ 86 h 92"/>
                <a:gd name="T6" fmla="*/ 58 w 72"/>
                <a:gd name="T7" fmla="*/ 81 h 92"/>
                <a:gd name="T8" fmla="*/ 51 w 72"/>
                <a:gd name="T9" fmla="*/ 75 h 92"/>
                <a:gd name="T10" fmla="*/ 46 w 72"/>
                <a:gd name="T11" fmla="*/ 69 h 92"/>
                <a:gd name="T12" fmla="*/ 38 w 72"/>
                <a:gd name="T13" fmla="*/ 58 h 92"/>
                <a:gd name="T14" fmla="*/ 32 w 72"/>
                <a:gd name="T15" fmla="*/ 46 h 92"/>
                <a:gd name="T16" fmla="*/ 25 w 72"/>
                <a:gd name="T17" fmla="*/ 34 h 92"/>
                <a:gd name="T18" fmla="*/ 19 w 72"/>
                <a:gd name="T19" fmla="*/ 23 h 92"/>
                <a:gd name="T20" fmla="*/ 11 w 72"/>
                <a:gd name="T21" fmla="*/ 12 h 92"/>
                <a:gd name="T22" fmla="*/ 0 w 72"/>
                <a:gd name="T23" fmla="*/ 0 h 92"/>
                <a:gd name="T24" fmla="*/ 25 w 72"/>
                <a:gd name="T25" fmla="*/ 12 h 92"/>
                <a:gd name="T26" fmla="*/ 44 w 72"/>
                <a:gd name="T27" fmla="*/ 21 h 92"/>
                <a:gd name="T28" fmla="*/ 51 w 72"/>
                <a:gd name="T29" fmla="*/ 26 h 92"/>
                <a:gd name="T30" fmla="*/ 58 w 72"/>
                <a:gd name="T31" fmla="*/ 31 h 92"/>
                <a:gd name="T32" fmla="*/ 66 w 72"/>
                <a:gd name="T33" fmla="*/ 36 h 92"/>
                <a:gd name="T34" fmla="*/ 72 w 72"/>
                <a:gd name="T35" fmla="*/ 4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1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6 w 46"/>
                <a:gd name="T1" fmla="*/ 6 h 62"/>
                <a:gd name="T2" fmla="*/ 19 w 46"/>
                <a:gd name="T3" fmla="*/ 5 h 62"/>
                <a:gd name="T4" fmla="*/ 31 w 46"/>
                <a:gd name="T5" fmla="*/ 3 h 62"/>
                <a:gd name="T6" fmla="*/ 39 w 46"/>
                <a:gd name="T7" fmla="*/ 1 h 62"/>
                <a:gd name="T8" fmla="*/ 46 w 46"/>
                <a:gd name="T9" fmla="*/ 0 h 62"/>
                <a:gd name="T10" fmla="*/ 46 w 46"/>
                <a:gd name="T11" fmla="*/ 9 h 62"/>
                <a:gd name="T12" fmla="*/ 46 w 46"/>
                <a:gd name="T13" fmla="*/ 18 h 62"/>
                <a:gd name="T14" fmla="*/ 46 w 46"/>
                <a:gd name="T15" fmla="*/ 27 h 62"/>
                <a:gd name="T16" fmla="*/ 46 w 46"/>
                <a:gd name="T17" fmla="*/ 38 h 62"/>
                <a:gd name="T18" fmla="*/ 45 w 46"/>
                <a:gd name="T19" fmla="*/ 46 h 62"/>
                <a:gd name="T20" fmla="*/ 41 w 46"/>
                <a:gd name="T21" fmla="*/ 54 h 62"/>
                <a:gd name="T22" fmla="*/ 39 w 46"/>
                <a:gd name="T23" fmla="*/ 57 h 62"/>
                <a:gd name="T24" fmla="*/ 37 w 46"/>
                <a:gd name="T25" fmla="*/ 60 h 62"/>
                <a:gd name="T26" fmla="*/ 35 w 46"/>
                <a:gd name="T27" fmla="*/ 61 h 62"/>
                <a:gd name="T28" fmla="*/ 33 w 46"/>
                <a:gd name="T29" fmla="*/ 62 h 62"/>
                <a:gd name="T30" fmla="*/ 27 w 46"/>
                <a:gd name="T31" fmla="*/ 61 h 62"/>
                <a:gd name="T32" fmla="*/ 22 w 46"/>
                <a:gd name="T33" fmla="*/ 60 h 62"/>
                <a:gd name="T34" fmla="*/ 17 w 46"/>
                <a:gd name="T35" fmla="*/ 59 h 62"/>
                <a:gd name="T36" fmla="*/ 14 w 46"/>
                <a:gd name="T37" fmla="*/ 57 h 62"/>
                <a:gd name="T38" fmla="*/ 11 w 46"/>
                <a:gd name="T39" fmla="*/ 54 h 62"/>
                <a:gd name="T40" fmla="*/ 7 w 46"/>
                <a:gd name="T41" fmla="*/ 51 h 62"/>
                <a:gd name="T42" fmla="*/ 5 w 46"/>
                <a:gd name="T43" fmla="*/ 47 h 62"/>
                <a:gd name="T44" fmla="*/ 4 w 46"/>
                <a:gd name="T45" fmla="*/ 44 h 62"/>
                <a:gd name="T46" fmla="*/ 1 w 46"/>
                <a:gd name="T47" fmla="*/ 34 h 62"/>
                <a:gd name="T48" fmla="*/ 0 w 46"/>
                <a:gd name="T49" fmla="*/ 25 h 62"/>
                <a:gd name="T50" fmla="*/ 0 w 46"/>
                <a:gd name="T51" fmla="*/ 16 h 62"/>
                <a:gd name="T52" fmla="*/ 0 w 46"/>
                <a:gd name="T53" fmla="*/ 6 h 62"/>
                <a:gd name="T54" fmla="*/ 6 w 46"/>
                <a:gd name="T55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2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59 w 152"/>
                <a:gd name="T1" fmla="*/ 0 h 296"/>
                <a:gd name="T2" fmla="*/ 66 w 152"/>
                <a:gd name="T3" fmla="*/ 9 h 296"/>
                <a:gd name="T4" fmla="*/ 77 w 152"/>
                <a:gd name="T5" fmla="*/ 17 h 296"/>
                <a:gd name="T6" fmla="*/ 88 w 152"/>
                <a:gd name="T7" fmla="*/ 23 h 296"/>
                <a:gd name="T8" fmla="*/ 99 w 152"/>
                <a:gd name="T9" fmla="*/ 25 h 296"/>
                <a:gd name="T10" fmla="*/ 108 w 152"/>
                <a:gd name="T11" fmla="*/ 21 h 296"/>
                <a:gd name="T12" fmla="*/ 118 w 152"/>
                <a:gd name="T13" fmla="*/ 12 h 296"/>
                <a:gd name="T14" fmla="*/ 122 w 152"/>
                <a:gd name="T15" fmla="*/ 35 h 296"/>
                <a:gd name="T16" fmla="*/ 130 w 152"/>
                <a:gd name="T17" fmla="*/ 62 h 296"/>
                <a:gd name="T18" fmla="*/ 141 w 152"/>
                <a:gd name="T19" fmla="*/ 86 h 296"/>
                <a:gd name="T20" fmla="*/ 147 w 152"/>
                <a:gd name="T21" fmla="*/ 94 h 296"/>
                <a:gd name="T22" fmla="*/ 152 w 152"/>
                <a:gd name="T23" fmla="*/ 99 h 296"/>
                <a:gd name="T24" fmla="*/ 143 w 152"/>
                <a:gd name="T25" fmla="*/ 120 h 296"/>
                <a:gd name="T26" fmla="*/ 129 w 152"/>
                <a:gd name="T27" fmla="*/ 140 h 296"/>
                <a:gd name="T28" fmla="*/ 117 w 152"/>
                <a:gd name="T29" fmla="*/ 157 h 296"/>
                <a:gd name="T30" fmla="*/ 112 w 152"/>
                <a:gd name="T31" fmla="*/ 172 h 296"/>
                <a:gd name="T32" fmla="*/ 115 w 152"/>
                <a:gd name="T33" fmla="*/ 197 h 296"/>
                <a:gd name="T34" fmla="*/ 115 w 152"/>
                <a:gd name="T35" fmla="*/ 205 h 296"/>
                <a:gd name="T36" fmla="*/ 112 w 152"/>
                <a:gd name="T37" fmla="*/ 216 h 296"/>
                <a:gd name="T38" fmla="*/ 126 w 152"/>
                <a:gd name="T39" fmla="*/ 216 h 296"/>
                <a:gd name="T40" fmla="*/ 146 w 152"/>
                <a:gd name="T41" fmla="*/ 216 h 296"/>
                <a:gd name="T42" fmla="*/ 136 w 152"/>
                <a:gd name="T43" fmla="*/ 252 h 296"/>
                <a:gd name="T44" fmla="*/ 136 w 152"/>
                <a:gd name="T45" fmla="*/ 267 h 296"/>
                <a:gd name="T46" fmla="*/ 146 w 152"/>
                <a:gd name="T47" fmla="*/ 283 h 296"/>
                <a:gd name="T48" fmla="*/ 125 w 152"/>
                <a:gd name="T49" fmla="*/ 291 h 296"/>
                <a:gd name="T50" fmla="*/ 105 w 152"/>
                <a:gd name="T51" fmla="*/ 296 h 296"/>
                <a:gd name="T52" fmla="*/ 85 w 152"/>
                <a:gd name="T53" fmla="*/ 294 h 296"/>
                <a:gd name="T54" fmla="*/ 73 w 152"/>
                <a:gd name="T55" fmla="*/ 288 h 296"/>
                <a:gd name="T56" fmla="*/ 67 w 152"/>
                <a:gd name="T57" fmla="*/ 280 h 296"/>
                <a:gd name="T58" fmla="*/ 66 w 152"/>
                <a:gd name="T59" fmla="*/ 271 h 296"/>
                <a:gd name="T60" fmla="*/ 85 w 152"/>
                <a:gd name="T61" fmla="*/ 253 h 296"/>
                <a:gd name="T62" fmla="*/ 69 w 152"/>
                <a:gd name="T63" fmla="*/ 249 h 296"/>
                <a:gd name="T64" fmla="*/ 52 w 152"/>
                <a:gd name="T65" fmla="*/ 242 h 296"/>
                <a:gd name="T66" fmla="*/ 38 w 152"/>
                <a:gd name="T67" fmla="*/ 231 h 296"/>
                <a:gd name="T68" fmla="*/ 25 w 152"/>
                <a:gd name="T69" fmla="*/ 219 h 296"/>
                <a:gd name="T70" fmla="*/ 14 w 152"/>
                <a:gd name="T71" fmla="*/ 205 h 296"/>
                <a:gd name="T72" fmla="*/ 6 w 152"/>
                <a:gd name="T73" fmla="*/ 190 h 296"/>
                <a:gd name="T74" fmla="*/ 1 w 152"/>
                <a:gd name="T75" fmla="*/ 172 h 296"/>
                <a:gd name="T76" fmla="*/ 0 w 152"/>
                <a:gd name="T77" fmla="*/ 154 h 296"/>
                <a:gd name="T78" fmla="*/ 0 w 152"/>
                <a:gd name="T79" fmla="*/ 130 h 296"/>
                <a:gd name="T80" fmla="*/ 27 w 152"/>
                <a:gd name="T81" fmla="*/ 106 h 296"/>
                <a:gd name="T82" fmla="*/ 32 w 152"/>
                <a:gd name="T83" fmla="*/ 46 h 296"/>
                <a:gd name="T84" fmla="*/ 31 w 152"/>
                <a:gd name="T85" fmla="*/ 18 h 296"/>
                <a:gd name="T86" fmla="*/ 28 w 152"/>
                <a:gd name="T87" fmla="*/ 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3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6 w 26"/>
                <a:gd name="T1" fmla="*/ 38 h 38"/>
                <a:gd name="T2" fmla="*/ 26 w 26"/>
                <a:gd name="T3" fmla="*/ 0 h 38"/>
                <a:gd name="T4" fmla="*/ 21 w 26"/>
                <a:gd name="T5" fmla="*/ 1 h 38"/>
                <a:gd name="T6" fmla="*/ 13 w 26"/>
                <a:gd name="T7" fmla="*/ 4 h 38"/>
                <a:gd name="T8" fmla="*/ 6 w 26"/>
                <a:gd name="T9" fmla="*/ 8 h 38"/>
                <a:gd name="T10" fmla="*/ 0 w 26"/>
                <a:gd name="T11" fmla="*/ 13 h 38"/>
                <a:gd name="T12" fmla="*/ 18 w 26"/>
                <a:gd name="T13" fmla="*/ 30 h 38"/>
                <a:gd name="T14" fmla="*/ 26 w 26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4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18 h 31"/>
                <a:gd name="T2" fmla="*/ 8 w 34"/>
                <a:gd name="T3" fmla="*/ 22 h 31"/>
                <a:gd name="T4" fmla="*/ 17 w 34"/>
                <a:gd name="T5" fmla="*/ 26 h 31"/>
                <a:gd name="T6" fmla="*/ 27 w 34"/>
                <a:gd name="T7" fmla="*/ 30 h 31"/>
                <a:gd name="T8" fmla="*/ 34 w 34"/>
                <a:gd name="T9" fmla="*/ 31 h 31"/>
                <a:gd name="T10" fmla="*/ 33 w 34"/>
                <a:gd name="T11" fmla="*/ 24 h 31"/>
                <a:gd name="T12" fmla="*/ 30 w 34"/>
                <a:gd name="T13" fmla="*/ 15 h 31"/>
                <a:gd name="T14" fmla="*/ 26 w 34"/>
                <a:gd name="T15" fmla="*/ 6 h 31"/>
                <a:gd name="T16" fmla="*/ 20 w 34"/>
                <a:gd name="T17" fmla="*/ 0 h 31"/>
                <a:gd name="T18" fmla="*/ 16 w 34"/>
                <a:gd name="T19" fmla="*/ 5 h 31"/>
                <a:gd name="T20" fmla="*/ 10 w 34"/>
                <a:gd name="T21" fmla="*/ 11 h 31"/>
                <a:gd name="T22" fmla="*/ 8 w 34"/>
                <a:gd name="T23" fmla="*/ 14 h 31"/>
                <a:gd name="T24" fmla="*/ 6 w 34"/>
                <a:gd name="T25" fmla="*/ 16 h 31"/>
                <a:gd name="T26" fmla="*/ 4 w 34"/>
                <a:gd name="T27" fmla="*/ 18 h 31"/>
                <a:gd name="T28" fmla="*/ 0 w 34"/>
                <a:gd name="T2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5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6 h 37"/>
                <a:gd name="T2" fmla="*/ 0 w 20"/>
                <a:gd name="T3" fmla="*/ 37 h 37"/>
                <a:gd name="T4" fmla="*/ 7 w 20"/>
                <a:gd name="T5" fmla="*/ 33 h 37"/>
                <a:gd name="T6" fmla="*/ 20 w 20"/>
                <a:gd name="T7" fmla="*/ 30 h 37"/>
                <a:gd name="T8" fmla="*/ 20 w 20"/>
                <a:gd name="T9" fmla="*/ 0 h 37"/>
                <a:gd name="T10" fmla="*/ 0 w 20"/>
                <a:gd name="T11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6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7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18 h 18"/>
                <a:gd name="T2" fmla="*/ 1 w 13"/>
                <a:gd name="T3" fmla="*/ 13 h 18"/>
                <a:gd name="T4" fmla="*/ 3 w 13"/>
                <a:gd name="T5" fmla="*/ 9 h 18"/>
                <a:gd name="T6" fmla="*/ 7 w 13"/>
                <a:gd name="T7" fmla="*/ 4 h 18"/>
                <a:gd name="T8" fmla="*/ 13 w 1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8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49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0 w 27"/>
                <a:gd name="T3" fmla="*/ 31 h 31"/>
                <a:gd name="T4" fmla="*/ 27 w 27"/>
                <a:gd name="T5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50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0 w 20"/>
                <a:gd name="T1" fmla="*/ 10 w 20"/>
                <a:gd name="T2" fmla="*/ 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51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13 h 13"/>
                <a:gd name="T2" fmla="*/ 6 w 34"/>
                <a:gd name="T3" fmla="*/ 13 h 13"/>
                <a:gd name="T4" fmla="*/ 10 w 34"/>
                <a:gd name="T5" fmla="*/ 11 h 13"/>
                <a:gd name="T6" fmla="*/ 16 w 34"/>
                <a:gd name="T7" fmla="*/ 10 h 13"/>
                <a:gd name="T8" fmla="*/ 20 w 34"/>
                <a:gd name="T9" fmla="*/ 7 h 13"/>
                <a:gd name="T10" fmla="*/ 28 w 34"/>
                <a:gd name="T11" fmla="*/ 2 h 13"/>
                <a:gd name="T12" fmla="*/ 34 w 34"/>
                <a:gd name="T13" fmla="*/ 0 h 13"/>
                <a:gd name="T14" fmla="*/ 25 w 34"/>
                <a:gd name="T15" fmla="*/ 0 h 13"/>
                <a:gd name="T16" fmla="*/ 15 w 34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52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34 w 34"/>
                <a:gd name="T1" fmla="*/ 18 h 18"/>
                <a:gd name="T2" fmla="*/ 34 w 34"/>
                <a:gd name="T3" fmla="*/ 0 h 18"/>
                <a:gd name="T4" fmla="*/ 28 w 34"/>
                <a:gd name="T5" fmla="*/ 0 h 18"/>
                <a:gd name="T6" fmla="*/ 20 w 34"/>
                <a:gd name="T7" fmla="*/ 0 h 18"/>
                <a:gd name="T8" fmla="*/ 10 w 34"/>
                <a:gd name="T9" fmla="*/ 0 h 18"/>
                <a:gd name="T10" fmla="*/ 0 w 34"/>
                <a:gd name="T11" fmla="*/ 0 h 18"/>
                <a:gd name="T12" fmla="*/ 34 w 34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53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53 w 59"/>
                <a:gd name="T1" fmla="*/ 25 h 25"/>
                <a:gd name="T2" fmla="*/ 56 w 59"/>
                <a:gd name="T3" fmla="*/ 12 h 25"/>
                <a:gd name="T4" fmla="*/ 59 w 59"/>
                <a:gd name="T5" fmla="*/ 0 h 25"/>
                <a:gd name="T6" fmla="*/ 44 w 59"/>
                <a:gd name="T7" fmla="*/ 0 h 25"/>
                <a:gd name="T8" fmla="*/ 27 w 59"/>
                <a:gd name="T9" fmla="*/ 0 h 25"/>
                <a:gd name="T10" fmla="*/ 19 w 59"/>
                <a:gd name="T11" fmla="*/ 1 h 25"/>
                <a:gd name="T12" fmla="*/ 12 w 59"/>
                <a:gd name="T13" fmla="*/ 2 h 25"/>
                <a:gd name="T14" fmla="*/ 5 w 59"/>
                <a:gd name="T15" fmla="*/ 4 h 25"/>
                <a:gd name="T16" fmla="*/ 0 w 59"/>
                <a:gd name="T17" fmla="*/ 6 h 25"/>
                <a:gd name="T18" fmla="*/ 13 w 59"/>
                <a:gd name="T19" fmla="*/ 14 h 25"/>
                <a:gd name="T20" fmla="*/ 26 w 59"/>
                <a:gd name="T21" fmla="*/ 20 h 25"/>
                <a:gd name="T22" fmla="*/ 33 w 59"/>
                <a:gd name="T23" fmla="*/ 22 h 25"/>
                <a:gd name="T24" fmla="*/ 38 w 59"/>
                <a:gd name="T25" fmla="*/ 24 h 25"/>
                <a:gd name="T26" fmla="*/ 46 w 59"/>
                <a:gd name="T27" fmla="*/ 25 h 25"/>
                <a:gd name="T28" fmla="*/ 53 w 59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354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355" name="Freeform 307"/>
          <p:cNvSpPr>
            <a:spLocks/>
          </p:cNvSpPr>
          <p:nvPr>
            <p:custDataLst>
              <p:tags r:id="rId209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>
              <a:gd name="T0" fmla="*/ 0 w 33"/>
              <a:gd name="T1" fmla="*/ 43 h 43"/>
              <a:gd name="T2" fmla="*/ 1 w 33"/>
              <a:gd name="T3" fmla="*/ 34 h 43"/>
              <a:gd name="T4" fmla="*/ 2 w 33"/>
              <a:gd name="T5" fmla="*/ 27 h 43"/>
              <a:gd name="T6" fmla="*/ 5 w 33"/>
              <a:gd name="T7" fmla="*/ 21 h 43"/>
              <a:gd name="T8" fmla="*/ 9 w 33"/>
              <a:gd name="T9" fmla="*/ 15 h 43"/>
              <a:gd name="T10" fmla="*/ 14 w 33"/>
              <a:gd name="T11" fmla="*/ 9 h 43"/>
              <a:gd name="T12" fmla="*/ 20 w 33"/>
              <a:gd name="T13" fmla="*/ 5 h 43"/>
              <a:gd name="T14" fmla="*/ 26 w 33"/>
              <a:gd name="T15" fmla="*/ 2 h 43"/>
              <a:gd name="T16" fmla="*/ 33 w 33"/>
              <a:gd name="T17" fmla="*/ 0 h 43"/>
              <a:gd name="T18" fmla="*/ 33 w 33"/>
              <a:gd name="T19" fmla="*/ 25 h 43"/>
              <a:gd name="T20" fmla="*/ 23 w 33"/>
              <a:gd name="T21" fmla="*/ 27 h 43"/>
              <a:gd name="T22" fmla="*/ 18 w 33"/>
              <a:gd name="T23" fmla="*/ 29 h 43"/>
              <a:gd name="T24" fmla="*/ 16 w 33"/>
              <a:gd name="T25" fmla="*/ 32 h 43"/>
              <a:gd name="T26" fmla="*/ 16 w 33"/>
              <a:gd name="T27" fmla="*/ 34 h 43"/>
              <a:gd name="T28" fmla="*/ 16 w 33"/>
              <a:gd name="T29" fmla="*/ 36 h 43"/>
              <a:gd name="T30" fmla="*/ 14 w 33"/>
              <a:gd name="T31" fmla="*/ 38 h 43"/>
              <a:gd name="T32" fmla="*/ 10 w 33"/>
              <a:gd name="T33" fmla="*/ 41 h 43"/>
              <a:gd name="T34" fmla="*/ 0 w 33"/>
              <a:gd name="T3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56" name="Freeform 308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>
              <a:gd name="T0" fmla="*/ 0 w 54"/>
              <a:gd name="T1" fmla="*/ 55 h 92"/>
              <a:gd name="T2" fmla="*/ 1 w 54"/>
              <a:gd name="T3" fmla="*/ 51 h 92"/>
              <a:gd name="T4" fmla="*/ 2 w 54"/>
              <a:gd name="T5" fmla="*/ 46 h 92"/>
              <a:gd name="T6" fmla="*/ 3 w 54"/>
              <a:gd name="T7" fmla="*/ 42 h 92"/>
              <a:gd name="T8" fmla="*/ 6 w 54"/>
              <a:gd name="T9" fmla="*/ 37 h 92"/>
              <a:gd name="T10" fmla="*/ 11 w 54"/>
              <a:gd name="T11" fmla="*/ 29 h 92"/>
              <a:gd name="T12" fmla="*/ 18 w 54"/>
              <a:gd name="T13" fmla="*/ 21 h 92"/>
              <a:gd name="T14" fmla="*/ 31 w 54"/>
              <a:gd name="T15" fmla="*/ 7 h 92"/>
              <a:gd name="T16" fmla="*/ 41 w 54"/>
              <a:gd name="T17" fmla="*/ 0 h 92"/>
              <a:gd name="T18" fmla="*/ 54 w 54"/>
              <a:gd name="T19" fmla="*/ 12 h 92"/>
              <a:gd name="T20" fmla="*/ 51 w 54"/>
              <a:gd name="T21" fmla="*/ 21 h 92"/>
              <a:gd name="T22" fmla="*/ 47 w 54"/>
              <a:gd name="T23" fmla="*/ 29 h 92"/>
              <a:gd name="T24" fmla="*/ 44 w 54"/>
              <a:gd name="T25" fmla="*/ 35 h 92"/>
              <a:gd name="T26" fmla="*/ 41 w 54"/>
              <a:gd name="T27" fmla="*/ 41 h 92"/>
              <a:gd name="T28" fmla="*/ 33 w 54"/>
              <a:gd name="T29" fmla="*/ 49 h 92"/>
              <a:gd name="T30" fmla="*/ 28 w 54"/>
              <a:gd name="T31" fmla="*/ 55 h 92"/>
              <a:gd name="T32" fmla="*/ 26 w 54"/>
              <a:gd name="T33" fmla="*/ 64 h 92"/>
              <a:gd name="T34" fmla="*/ 26 w 54"/>
              <a:gd name="T35" fmla="*/ 74 h 92"/>
              <a:gd name="T36" fmla="*/ 24 w 54"/>
              <a:gd name="T37" fmla="*/ 83 h 92"/>
              <a:gd name="T38" fmla="*/ 20 w 54"/>
              <a:gd name="T39" fmla="*/ 92 h 92"/>
              <a:gd name="T40" fmla="*/ 14 w 54"/>
              <a:gd name="T41" fmla="*/ 83 h 92"/>
              <a:gd name="T42" fmla="*/ 8 w 54"/>
              <a:gd name="T43" fmla="*/ 74 h 92"/>
              <a:gd name="T44" fmla="*/ 5 w 54"/>
              <a:gd name="T45" fmla="*/ 70 h 92"/>
              <a:gd name="T46" fmla="*/ 2 w 54"/>
              <a:gd name="T47" fmla="*/ 64 h 92"/>
              <a:gd name="T48" fmla="*/ 1 w 54"/>
              <a:gd name="T49" fmla="*/ 60 h 92"/>
              <a:gd name="T50" fmla="*/ 0 w 54"/>
              <a:gd name="T51" fmla="*/ 55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57" name="Freeform 309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19 w 60"/>
              <a:gd name="T3" fmla="*/ 4 h 18"/>
              <a:gd name="T4" fmla="*/ 37 w 60"/>
              <a:gd name="T5" fmla="*/ 9 h 18"/>
              <a:gd name="T6" fmla="*/ 45 w 60"/>
              <a:gd name="T7" fmla="*/ 11 h 18"/>
              <a:gd name="T8" fmla="*/ 51 w 60"/>
              <a:gd name="T9" fmla="*/ 13 h 18"/>
              <a:gd name="T10" fmla="*/ 56 w 60"/>
              <a:gd name="T11" fmla="*/ 16 h 18"/>
              <a:gd name="T12" fmla="*/ 60 w 60"/>
              <a:gd name="T13" fmla="*/ 18 h 18"/>
              <a:gd name="T14" fmla="*/ 38 w 60"/>
              <a:gd name="T15" fmla="*/ 18 h 18"/>
              <a:gd name="T16" fmla="*/ 23 w 60"/>
              <a:gd name="T17" fmla="*/ 18 h 18"/>
              <a:gd name="T18" fmla="*/ 10 w 60"/>
              <a:gd name="T19" fmla="*/ 18 h 18"/>
              <a:gd name="T20" fmla="*/ 0 w 60"/>
              <a:gd name="T21" fmla="*/ 18 h 18"/>
              <a:gd name="T22" fmla="*/ 0 w 6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58" name="Freeform 310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>
              <a:gd name="T0" fmla="*/ 0 w 66"/>
              <a:gd name="T1" fmla="*/ 18 h 18"/>
              <a:gd name="T2" fmla="*/ 66 w 66"/>
              <a:gd name="T3" fmla="*/ 18 h 18"/>
              <a:gd name="T4" fmla="*/ 52 w 66"/>
              <a:gd name="T5" fmla="*/ 13 h 18"/>
              <a:gd name="T6" fmla="*/ 40 w 66"/>
              <a:gd name="T7" fmla="*/ 7 h 18"/>
              <a:gd name="T8" fmla="*/ 35 w 66"/>
              <a:gd name="T9" fmla="*/ 4 h 18"/>
              <a:gd name="T10" fmla="*/ 29 w 66"/>
              <a:gd name="T11" fmla="*/ 2 h 18"/>
              <a:gd name="T12" fmla="*/ 25 w 66"/>
              <a:gd name="T13" fmla="*/ 1 h 18"/>
              <a:gd name="T14" fmla="*/ 19 w 66"/>
              <a:gd name="T15" fmla="*/ 0 h 18"/>
              <a:gd name="T16" fmla="*/ 0 w 66"/>
              <a:gd name="T1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59" name="Freeform 311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>
              <a:gd name="T0" fmla="*/ 0 w 17"/>
              <a:gd name="T1" fmla="*/ 36 h 42"/>
              <a:gd name="T2" fmla="*/ 13 w 17"/>
              <a:gd name="T3" fmla="*/ 42 h 42"/>
              <a:gd name="T4" fmla="*/ 14 w 17"/>
              <a:gd name="T5" fmla="*/ 33 h 42"/>
              <a:gd name="T6" fmla="*/ 16 w 17"/>
              <a:gd name="T7" fmla="*/ 23 h 42"/>
              <a:gd name="T8" fmla="*/ 17 w 17"/>
              <a:gd name="T9" fmla="*/ 18 h 42"/>
              <a:gd name="T10" fmla="*/ 16 w 17"/>
              <a:gd name="T11" fmla="*/ 12 h 42"/>
              <a:gd name="T12" fmla="*/ 16 w 17"/>
              <a:gd name="T13" fmla="*/ 6 h 42"/>
              <a:gd name="T14" fmla="*/ 13 w 17"/>
              <a:gd name="T15" fmla="*/ 0 h 42"/>
              <a:gd name="T16" fmla="*/ 0 w 17"/>
              <a:gd name="T17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60" name="Freeform 312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>
              <a:gd name="T0" fmla="*/ 6 w 72"/>
              <a:gd name="T1" fmla="*/ 29 h 29"/>
              <a:gd name="T2" fmla="*/ 15 w 72"/>
              <a:gd name="T3" fmla="*/ 26 h 29"/>
              <a:gd name="T4" fmla="*/ 24 w 72"/>
              <a:gd name="T5" fmla="*/ 24 h 29"/>
              <a:gd name="T6" fmla="*/ 32 w 72"/>
              <a:gd name="T7" fmla="*/ 24 h 29"/>
              <a:gd name="T8" fmla="*/ 39 w 72"/>
              <a:gd name="T9" fmla="*/ 24 h 29"/>
              <a:gd name="T10" fmla="*/ 55 w 72"/>
              <a:gd name="T11" fmla="*/ 27 h 29"/>
              <a:gd name="T12" fmla="*/ 72 w 72"/>
              <a:gd name="T13" fmla="*/ 29 h 29"/>
              <a:gd name="T14" fmla="*/ 72 w 72"/>
              <a:gd name="T15" fmla="*/ 4 h 29"/>
              <a:gd name="T16" fmla="*/ 58 w 72"/>
              <a:gd name="T17" fmla="*/ 1 h 29"/>
              <a:gd name="T18" fmla="*/ 47 w 72"/>
              <a:gd name="T19" fmla="*/ 0 h 29"/>
              <a:gd name="T20" fmla="*/ 39 w 72"/>
              <a:gd name="T21" fmla="*/ 0 h 29"/>
              <a:gd name="T22" fmla="*/ 34 w 72"/>
              <a:gd name="T23" fmla="*/ 2 h 29"/>
              <a:gd name="T24" fmla="*/ 27 w 72"/>
              <a:gd name="T25" fmla="*/ 3 h 29"/>
              <a:gd name="T26" fmla="*/ 21 w 72"/>
              <a:gd name="T27" fmla="*/ 5 h 29"/>
              <a:gd name="T28" fmla="*/ 12 w 72"/>
              <a:gd name="T29" fmla="*/ 5 h 29"/>
              <a:gd name="T30" fmla="*/ 0 w 72"/>
              <a:gd name="T31" fmla="*/ 4 h 29"/>
              <a:gd name="T32" fmla="*/ 3 w 72"/>
              <a:gd name="T33" fmla="*/ 16 h 29"/>
              <a:gd name="T34" fmla="*/ 6 w 72"/>
              <a:gd name="T35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61" name="Freeform 313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9 w 46"/>
              <a:gd name="T3" fmla="*/ 9 h 37"/>
              <a:gd name="T4" fmla="*/ 20 w 46"/>
              <a:gd name="T5" fmla="*/ 15 h 37"/>
              <a:gd name="T6" fmla="*/ 31 w 46"/>
              <a:gd name="T7" fmla="*/ 20 h 37"/>
              <a:gd name="T8" fmla="*/ 46 w 46"/>
              <a:gd name="T9" fmla="*/ 25 h 37"/>
              <a:gd name="T10" fmla="*/ 37 w 46"/>
              <a:gd name="T11" fmla="*/ 29 h 37"/>
              <a:gd name="T12" fmla="*/ 29 w 46"/>
              <a:gd name="T13" fmla="*/ 33 h 37"/>
              <a:gd name="T14" fmla="*/ 21 w 46"/>
              <a:gd name="T15" fmla="*/ 36 h 37"/>
              <a:gd name="T16" fmla="*/ 13 w 46"/>
              <a:gd name="T17" fmla="*/ 37 h 37"/>
              <a:gd name="T18" fmla="*/ 9 w 46"/>
              <a:gd name="T19" fmla="*/ 36 h 37"/>
              <a:gd name="T20" fmla="*/ 7 w 46"/>
              <a:gd name="T21" fmla="*/ 33 h 37"/>
              <a:gd name="T22" fmla="*/ 5 w 46"/>
              <a:gd name="T23" fmla="*/ 29 h 37"/>
              <a:gd name="T24" fmla="*/ 3 w 46"/>
              <a:gd name="T25" fmla="*/ 23 h 37"/>
              <a:gd name="T26" fmla="*/ 1 w 46"/>
              <a:gd name="T27" fmla="*/ 12 h 37"/>
              <a:gd name="T28" fmla="*/ 0 w 46"/>
              <a:gd name="T29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62" name="Freeform 314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26 w 26"/>
              <a:gd name="T3" fmla="*/ 19 h 19"/>
              <a:gd name="T4" fmla="*/ 26 w 26"/>
              <a:gd name="T5" fmla="*/ 9 h 19"/>
              <a:gd name="T6" fmla="*/ 26 w 26"/>
              <a:gd name="T7" fmla="*/ 0 h 19"/>
              <a:gd name="T8" fmla="*/ 15 w 26"/>
              <a:gd name="T9" fmla="*/ 0 h 19"/>
              <a:gd name="T10" fmla="*/ 0 w 26"/>
              <a:gd name="T11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63" name="Freeform 315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>
              <a:gd name="T0" fmla="*/ 2 w 43"/>
              <a:gd name="T1" fmla="*/ 0 h 31"/>
              <a:gd name="T2" fmla="*/ 1 w 43"/>
              <a:gd name="T3" fmla="*/ 12 h 31"/>
              <a:gd name="T4" fmla="*/ 0 w 43"/>
              <a:gd name="T5" fmla="*/ 23 h 31"/>
              <a:gd name="T6" fmla="*/ 0 w 43"/>
              <a:gd name="T7" fmla="*/ 26 h 31"/>
              <a:gd name="T8" fmla="*/ 0 w 43"/>
              <a:gd name="T9" fmla="*/ 29 h 31"/>
              <a:gd name="T10" fmla="*/ 0 w 43"/>
              <a:gd name="T11" fmla="*/ 31 h 31"/>
              <a:gd name="T12" fmla="*/ 2 w 43"/>
              <a:gd name="T13" fmla="*/ 31 h 31"/>
              <a:gd name="T14" fmla="*/ 13 w 43"/>
              <a:gd name="T15" fmla="*/ 22 h 31"/>
              <a:gd name="T16" fmla="*/ 25 w 43"/>
              <a:gd name="T17" fmla="*/ 13 h 31"/>
              <a:gd name="T18" fmla="*/ 35 w 43"/>
              <a:gd name="T19" fmla="*/ 5 h 31"/>
              <a:gd name="T20" fmla="*/ 43 w 43"/>
              <a:gd name="T21" fmla="*/ 0 h 31"/>
              <a:gd name="T22" fmla="*/ 2 w 43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64" name="Freeform 316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>
              <a:gd name="T0" fmla="*/ 4 w 71"/>
              <a:gd name="T1" fmla="*/ 12 h 49"/>
              <a:gd name="T2" fmla="*/ 4 w 71"/>
              <a:gd name="T3" fmla="*/ 18 h 49"/>
              <a:gd name="T4" fmla="*/ 5 w 71"/>
              <a:gd name="T5" fmla="*/ 25 h 49"/>
              <a:gd name="T6" fmla="*/ 7 w 71"/>
              <a:gd name="T7" fmla="*/ 31 h 49"/>
              <a:gd name="T8" fmla="*/ 9 w 71"/>
              <a:gd name="T9" fmla="*/ 37 h 49"/>
              <a:gd name="T10" fmla="*/ 14 w 71"/>
              <a:gd name="T11" fmla="*/ 41 h 49"/>
              <a:gd name="T12" fmla="*/ 18 w 71"/>
              <a:gd name="T13" fmla="*/ 46 h 49"/>
              <a:gd name="T14" fmla="*/ 23 w 71"/>
              <a:gd name="T15" fmla="*/ 48 h 49"/>
              <a:gd name="T16" fmla="*/ 30 w 71"/>
              <a:gd name="T17" fmla="*/ 49 h 49"/>
              <a:gd name="T18" fmla="*/ 35 w 71"/>
              <a:gd name="T19" fmla="*/ 48 h 49"/>
              <a:gd name="T20" fmla="*/ 40 w 71"/>
              <a:gd name="T21" fmla="*/ 46 h 49"/>
              <a:gd name="T22" fmla="*/ 45 w 71"/>
              <a:gd name="T23" fmla="*/ 42 h 49"/>
              <a:gd name="T24" fmla="*/ 50 w 71"/>
              <a:gd name="T25" fmla="*/ 37 h 49"/>
              <a:gd name="T26" fmla="*/ 60 w 71"/>
              <a:gd name="T27" fmla="*/ 28 h 49"/>
              <a:gd name="T28" fmla="*/ 71 w 71"/>
              <a:gd name="T29" fmla="*/ 18 h 49"/>
              <a:gd name="T30" fmla="*/ 61 w 71"/>
              <a:gd name="T31" fmla="*/ 12 h 49"/>
              <a:gd name="T32" fmla="*/ 52 w 71"/>
              <a:gd name="T33" fmla="*/ 9 h 49"/>
              <a:gd name="T34" fmla="*/ 44 w 71"/>
              <a:gd name="T35" fmla="*/ 7 h 49"/>
              <a:gd name="T36" fmla="*/ 37 w 71"/>
              <a:gd name="T37" fmla="*/ 6 h 49"/>
              <a:gd name="T38" fmla="*/ 29 w 71"/>
              <a:gd name="T39" fmla="*/ 6 h 49"/>
              <a:gd name="T40" fmla="*/ 21 w 71"/>
              <a:gd name="T41" fmla="*/ 5 h 49"/>
              <a:gd name="T42" fmla="*/ 14 w 71"/>
              <a:gd name="T43" fmla="*/ 3 h 49"/>
              <a:gd name="T44" fmla="*/ 4 w 71"/>
              <a:gd name="T45" fmla="*/ 0 h 49"/>
              <a:gd name="T46" fmla="*/ 3 w 71"/>
              <a:gd name="T47" fmla="*/ 1 h 49"/>
              <a:gd name="T48" fmla="*/ 1 w 71"/>
              <a:gd name="T49" fmla="*/ 6 h 49"/>
              <a:gd name="T50" fmla="*/ 0 w 71"/>
              <a:gd name="T51" fmla="*/ 8 h 49"/>
              <a:gd name="T52" fmla="*/ 0 w 71"/>
              <a:gd name="T53" fmla="*/ 10 h 49"/>
              <a:gd name="T54" fmla="*/ 1 w 71"/>
              <a:gd name="T55" fmla="*/ 11 h 49"/>
              <a:gd name="T56" fmla="*/ 4 w 71"/>
              <a:gd name="T57" fmla="*/ 12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65" name="Freeform 317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>
              <a:gd name="T0" fmla="*/ 46 w 112"/>
              <a:gd name="T1" fmla="*/ 2 h 26"/>
              <a:gd name="T2" fmla="*/ 56 w 112"/>
              <a:gd name="T3" fmla="*/ 2 h 26"/>
              <a:gd name="T4" fmla="*/ 66 w 112"/>
              <a:gd name="T5" fmla="*/ 3 h 26"/>
              <a:gd name="T6" fmla="*/ 74 w 112"/>
              <a:gd name="T7" fmla="*/ 4 h 26"/>
              <a:gd name="T8" fmla="*/ 84 w 112"/>
              <a:gd name="T9" fmla="*/ 6 h 26"/>
              <a:gd name="T10" fmla="*/ 92 w 112"/>
              <a:gd name="T11" fmla="*/ 9 h 26"/>
              <a:gd name="T12" fmla="*/ 100 w 112"/>
              <a:gd name="T13" fmla="*/ 12 h 26"/>
              <a:gd name="T14" fmla="*/ 106 w 112"/>
              <a:gd name="T15" fmla="*/ 16 h 26"/>
              <a:gd name="T16" fmla="*/ 112 w 112"/>
              <a:gd name="T17" fmla="*/ 20 h 26"/>
              <a:gd name="T18" fmla="*/ 110 w 112"/>
              <a:gd name="T19" fmla="*/ 22 h 26"/>
              <a:gd name="T20" fmla="*/ 105 w 112"/>
              <a:gd name="T21" fmla="*/ 23 h 26"/>
              <a:gd name="T22" fmla="*/ 101 w 112"/>
              <a:gd name="T23" fmla="*/ 25 h 26"/>
              <a:gd name="T24" fmla="*/ 95 w 112"/>
              <a:gd name="T25" fmla="*/ 25 h 26"/>
              <a:gd name="T26" fmla="*/ 87 w 112"/>
              <a:gd name="T27" fmla="*/ 26 h 26"/>
              <a:gd name="T28" fmla="*/ 79 w 112"/>
              <a:gd name="T29" fmla="*/ 26 h 26"/>
              <a:gd name="T30" fmla="*/ 66 w 112"/>
              <a:gd name="T31" fmla="*/ 24 h 26"/>
              <a:gd name="T32" fmla="*/ 41 w 112"/>
              <a:gd name="T33" fmla="*/ 19 h 26"/>
              <a:gd name="T34" fmla="*/ 16 w 112"/>
              <a:gd name="T35" fmla="*/ 13 h 26"/>
              <a:gd name="T36" fmla="*/ 0 w 112"/>
              <a:gd name="T37" fmla="*/ 8 h 26"/>
              <a:gd name="T38" fmla="*/ 5 w 112"/>
              <a:gd name="T39" fmla="*/ 4 h 26"/>
              <a:gd name="T40" fmla="*/ 11 w 112"/>
              <a:gd name="T41" fmla="*/ 2 h 26"/>
              <a:gd name="T42" fmla="*/ 18 w 112"/>
              <a:gd name="T43" fmla="*/ 1 h 26"/>
              <a:gd name="T44" fmla="*/ 25 w 112"/>
              <a:gd name="T45" fmla="*/ 0 h 26"/>
              <a:gd name="T46" fmla="*/ 37 w 112"/>
              <a:gd name="T47" fmla="*/ 1 h 26"/>
              <a:gd name="T48" fmla="*/ 46 w 112"/>
              <a:gd name="T49" fmla="*/ 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66" name="Freeform 318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41 w 41"/>
              <a:gd name="T3" fmla="*/ 0 h 25"/>
              <a:gd name="T4" fmla="*/ 28 w 41"/>
              <a:gd name="T5" fmla="*/ 8 h 25"/>
              <a:gd name="T6" fmla="*/ 18 w 41"/>
              <a:gd name="T7" fmla="*/ 15 h 25"/>
              <a:gd name="T8" fmla="*/ 9 w 41"/>
              <a:gd name="T9" fmla="*/ 20 h 25"/>
              <a:gd name="T10" fmla="*/ 0 w 41"/>
              <a:gd name="T11" fmla="*/ 25 h 25"/>
              <a:gd name="T12" fmla="*/ 0 w 41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67" name="Freeform 319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>
              <a:gd name="T0" fmla="*/ 0 w 81"/>
              <a:gd name="T1" fmla="*/ 31 h 31"/>
              <a:gd name="T2" fmla="*/ 0 w 81"/>
              <a:gd name="T3" fmla="*/ 22 h 31"/>
              <a:gd name="T4" fmla="*/ 0 w 81"/>
              <a:gd name="T5" fmla="*/ 13 h 31"/>
              <a:gd name="T6" fmla="*/ 0 w 81"/>
              <a:gd name="T7" fmla="*/ 10 h 31"/>
              <a:gd name="T8" fmla="*/ 2 w 81"/>
              <a:gd name="T9" fmla="*/ 8 h 31"/>
              <a:gd name="T10" fmla="*/ 3 w 81"/>
              <a:gd name="T11" fmla="*/ 6 h 31"/>
              <a:gd name="T12" fmla="*/ 4 w 81"/>
              <a:gd name="T13" fmla="*/ 4 h 31"/>
              <a:gd name="T14" fmla="*/ 8 w 81"/>
              <a:gd name="T15" fmla="*/ 2 h 31"/>
              <a:gd name="T16" fmla="*/ 14 w 81"/>
              <a:gd name="T17" fmla="*/ 0 h 31"/>
              <a:gd name="T18" fmla="*/ 26 w 81"/>
              <a:gd name="T19" fmla="*/ 1 h 31"/>
              <a:gd name="T20" fmla="*/ 41 w 81"/>
              <a:gd name="T21" fmla="*/ 1 h 31"/>
              <a:gd name="T22" fmla="*/ 56 w 81"/>
              <a:gd name="T23" fmla="*/ 1 h 31"/>
              <a:gd name="T24" fmla="*/ 65 w 81"/>
              <a:gd name="T25" fmla="*/ 1 h 31"/>
              <a:gd name="T26" fmla="*/ 73 w 81"/>
              <a:gd name="T27" fmla="*/ 1 h 31"/>
              <a:gd name="T28" fmla="*/ 81 w 81"/>
              <a:gd name="T29" fmla="*/ 1 h 31"/>
              <a:gd name="T30" fmla="*/ 73 w 81"/>
              <a:gd name="T31" fmla="*/ 6 h 31"/>
              <a:gd name="T32" fmla="*/ 67 w 81"/>
              <a:gd name="T33" fmla="*/ 10 h 31"/>
              <a:gd name="T34" fmla="*/ 64 w 81"/>
              <a:gd name="T35" fmla="*/ 14 h 31"/>
              <a:gd name="T36" fmla="*/ 62 w 81"/>
              <a:gd name="T37" fmla="*/ 18 h 31"/>
              <a:gd name="T38" fmla="*/ 59 w 81"/>
              <a:gd name="T39" fmla="*/ 21 h 31"/>
              <a:gd name="T40" fmla="*/ 54 w 81"/>
              <a:gd name="T41" fmla="*/ 23 h 31"/>
              <a:gd name="T42" fmla="*/ 47 w 81"/>
              <a:gd name="T43" fmla="*/ 25 h 31"/>
              <a:gd name="T44" fmla="*/ 34 w 81"/>
              <a:gd name="T45" fmla="*/ 25 h 31"/>
              <a:gd name="T46" fmla="*/ 0 w 81"/>
              <a:gd name="T4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68" name="Freeform 320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>
              <a:gd name="T0" fmla="*/ 2 w 89"/>
              <a:gd name="T1" fmla="*/ 49 h 49"/>
              <a:gd name="T2" fmla="*/ 89 w 89"/>
              <a:gd name="T3" fmla="*/ 49 h 49"/>
              <a:gd name="T4" fmla="*/ 78 w 89"/>
              <a:gd name="T5" fmla="*/ 41 h 49"/>
              <a:gd name="T6" fmla="*/ 68 w 89"/>
              <a:gd name="T7" fmla="*/ 35 h 49"/>
              <a:gd name="T8" fmla="*/ 57 w 89"/>
              <a:gd name="T9" fmla="*/ 30 h 49"/>
              <a:gd name="T10" fmla="*/ 46 w 89"/>
              <a:gd name="T11" fmla="*/ 25 h 49"/>
              <a:gd name="T12" fmla="*/ 36 w 89"/>
              <a:gd name="T13" fmla="*/ 21 h 49"/>
              <a:gd name="T14" fmla="*/ 26 w 89"/>
              <a:gd name="T15" fmla="*/ 14 h 49"/>
              <a:gd name="T16" fmla="*/ 16 w 89"/>
              <a:gd name="T17" fmla="*/ 8 h 49"/>
              <a:gd name="T18" fmla="*/ 9 w 89"/>
              <a:gd name="T19" fmla="*/ 0 h 49"/>
              <a:gd name="T20" fmla="*/ 4 w 89"/>
              <a:gd name="T21" fmla="*/ 10 h 49"/>
              <a:gd name="T22" fmla="*/ 1 w 89"/>
              <a:gd name="T23" fmla="*/ 23 h 49"/>
              <a:gd name="T24" fmla="*/ 0 w 89"/>
              <a:gd name="T25" fmla="*/ 29 h 49"/>
              <a:gd name="T26" fmla="*/ 0 w 89"/>
              <a:gd name="T27" fmla="*/ 36 h 49"/>
              <a:gd name="T28" fmla="*/ 0 w 89"/>
              <a:gd name="T29" fmla="*/ 43 h 49"/>
              <a:gd name="T30" fmla="*/ 2 w 89"/>
              <a:gd name="T31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69" name="Freeform 321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>
              <a:gd name="T0" fmla="*/ 0 w 86"/>
              <a:gd name="T1" fmla="*/ 21 h 46"/>
              <a:gd name="T2" fmla="*/ 14 w 86"/>
              <a:gd name="T3" fmla="*/ 26 h 46"/>
              <a:gd name="T4" fmla="*/ 25 w 86"/>
              <a:gd name="T5" fmla="*/ 29 h 46"/>
              <a:gd name="T6" fmla="*/ 30 w 86"/>
              <a:gd name="T7" fmla="*/ 30 h 46"/>
              <a:gd name="T8" fmla="*/ 36 w 86"/>
              <a:gd name="T9" fmla="*/ 30 h 46"/>
              <a:gd name="T10" fmla="*/ 41 w 86"/>
              <a:gd name="T11" fmla="*/ 29 h 46"/>
              <a:gd name="T12" fmla="*/ 46 w 86"/>
              <a:gd name="T13" fmla="*/ 27 h 46"/>
              <a:gd name="T14" fmla="*/ 46 w 86"/>
              <a:gd name="T15" fmla="*/ 36 h 46"/>
              <a:gd name="T16" fmla="*/ 46 w 86"/>
              <a:gd name="T17" fmla="*/ 46 h 46"/>
              <a:gd name="T18" fmla="*/ 56 w 86"/>
              <a:gd name="T19" fmla="*/ 45 h 46"/>
              <a:gd name="T20" fmla="*/ 67 w 86"/>
              <a:gd name="T21" fmla="*/ 43 h 46"/>
              <a:gd name="T22" fmla="*/ 77 w 86"/>
              <a:gd name="T23" fmla="*/ 40 h 46"/>
              <a:gd name="T24" fmla="*/ 86 w 86"/>
              <a:gd name="T25" fmla="*/ 40 h 46"/>
              <a:gd name="T26" fmla="*/ 83 w 86"/>
              <a:gd name="T27" fmla="*/ 32 h 46"/>
              <a:gd name="T28" fmla="*/ 80 w 86"/>
              <a:gd name="T29" fmla="*/ 25 h 46"/>
              <a:gd name="T30" fmla="*/ 74 w 86"/>
              <a:gd name="T31" fmla="*/ 19 h 46"/>
              <a:gd name="T32" fmla="*/ 70 w 86"/>
              <a:gd name="T33" fmla="*/ 14 h 46"/>
              <a:gd name="T34" fmla="*/ 64 w 86"/>
              <a:gd name="T35" fmla="*/ 9 h 46"/>
              <a:gd name="T36" fmla="*/ 58 w 86"/>
              <a:gd name="T37" fmla="*/ 6 h 46"/>
              <a:gd name="T38" fmla="*/ 51 w 86"/>
              <a:gd name="T39" fmla="*/ 3 h 46"/>
              <a:gd name="T40" fmla="*/ 46 w 86"/>
              <a:gd name="T41" fmla="*/ 1 h 46"/>
              <a:gd name="T42" fmla="*/ 39 w 86"/>
              <a:gd name="T43" fmla="*/ 0 h 46"/>
              <a:gd name="T44" fmla="*/ 33 w 86"/>
              <a:gd name="T45" fmla="*/ 0 h 46"/>
              <a:gd name="T46" fmla="*/ 26 w 86"/>
              <a:gd name="T47" fmla="*/ 1 h 46"/>
              <a:gd name="T48" fmla="*/ 19 w 86"/>
              <a:gd name="T49" fmla="*/ 3 h 46"/>
              <a:gd name="T50" fmla="*/ 14 w 86"/>
              <a:gd name="T51" fmla="*/ 6 h 46"/>
              <a:gd name="T52" fmla="*/ 8 w 86"/>
              <a:gd name="T53" fmla="*/ 10 h 46"/>
              <a:gd name="T54" fmla="*/ 4 w 86"/>
              <a:gd name="T55" fmla="*/ 15 h 46"/>
              <a:gd name="T56" fmla="*/ 0 w 86"/>
              <a:gd name="T57" fmla="*/ 21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70" name="Freeform 322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18 h 18"/>
              <a:gd name="T4" fmla="*/ 39 w 59"/>
              <a:gd name="T5" fmla="*/ 18 h 18"/>
              <a:gd name="T6" fmla="*/ 59 w 59"/>
              <a:gd name="T7" fmla="*/ 6 h 18"/>
              <a:gd name="T8" fmla="*/ 51 w 59"/>
              <a:gd name="T9" fmla="*/ 5 h 18"/>
              <a:gd name="T10" fmla="*/ 45 w 59"/>
              <a:gd name="T11" fmla="*/ 4 h 18"/>
              <a:gd name="T12" fmla="*/ 37 w 59"/>
              <a:gd name="T13" fmla="*/ 5 h 18"/>
              <a:gd name="T14" fmla="*/ 29 w 59"/>
              <a:gd name="T15" fmla="*/ 6 h 18"/>
              <a:gd name="T16" fmla="*/ 22 w 59"/>
              <a:gd name="T17" fmla="*/ 6 h 18"/>
              <a:gd name="T18" fmla="*/ 14 w 59"/>
              <a:gd name="T19" fmla="*/ 5 h 18"/>
              <a:gd name="T20" fmla="*/ 7 w 59"/>
              <a:gd name="T21" fmla="*/ 4 h 18"/>
              <a:gd name="T22" fmla="*/ 0 w 59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71" name="Freeform 323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>
              <a:gd name="T0" fmla="*/ 4 w 4"/>
              <a:gd name="T1" fmla="*/ 19 h 19"/>
              <a:gd name="T2" fmla="*/ 4 w 4"/>
              <a:gd name="T3" fmla="*/ 0 h 19"/>
              <a:gd name="T4" fmla="*/ 2 w 4"/>
              <a:gd name="T5" fmla="*/ 1 h 19"/>
              <a:gd name="T6" fmla="*/ 1 w 4"/>
              <a:gd name="T7" fmla="*/ 3 h 19"/>
              <a:gd name="T8" fmla="*/ 0 w 4"/>
              <a:gd name="T9" fmla="*/ 6 h 19"/>
              <a:gd name="T10" fmla="*/ 0 w 4"/>
              <a:gd name="T11" fmla="*/ 10 h 19"/>
              <a:gd name="T12" fmla="*/ 0 w 4"/>
              <a:gd name="T13" fmla="*/ 14 h 19"/>
              <a:gd name="T14" fmla="*/ 1 w 4"/>
              <a:gd name="T15" fmla="*/ 16 h 19"/>
              <a:gd name="T16" fmla="*/ 2 w 4"/>
              <a:gd name="T17" fmla="*/ 19 h 19"/>
              <a:gd name="T18" fmla="*/ 4 w 4"/>
              <a:gd name="T1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72" name="Freeform 324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>
              <a:gd name="T0" fmla="*/ 0 w 46"/>
              <a:gd name="T1" fmla="*/ 50 h 50"/>
              <a:gd name="T2" fmla="*/ 7 w 46"/>
              <a:gd name="T3" fmla="*/ 0 h 50"/>
              <a:gd name="T4" fmla="*/ 23 w 46"/>
              <a:gd name="T5" fmla="*/ 8 h 50"/>
              <a:gd name="T6" fmla="*/ 34 w 46"/>
              <a:gd name="T7" fmla="*/ 14 h 50"/>
              <a:gd name="T8" fmla="*/ 37 w 46"/>
              <a:gd name="T9" fmla="*/ 18 h 50"/>
              <a:gd name="T10" fmla="*/ 41 w 46"/>
              <a:gd name="T11" fmla="*/ 22 h 50"/>
              <a:gd name="T12" fmla="*/ 44 w 46"/>
              <a:gd name="T13" fmla="*/ 30 h 50"/>
              <a:gd name="T14" fmla="*/ 46 w 46"/>
              <a:gd name="T15" fmla="*/ 38 h 50"/>
              <a:gd name="T16" fmla="*/ 34 w 46"/>
              <a:gd name="T17" fmla="*/ 42 h 50"/>
              <a:gd name="T18" fmla="*/ 21 w 46"/>
              <a:gd name="T19" fmla="*/ 46 h 50"/>
              <a:gd name="T20" fmla="*/ 8 w 46"/>
              <a:gd name="T21" fmla="*/ 49 h 50"/>
              <a:gd name="T22" fmla="*/ 0 w 46"/>
              <a:gd name="T23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73" name="Freeform 325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10 w 66"/>
              <a:gd name="T3" fmla="*/ 0 h 80"/>
              <a:gd name="T4" fmla="*/ 18 w 66"/>
              <a:gd name="T5" fmla="*/ 0 h 80"/>
              <a:gd name="T6" fmla="*/ 26 w 66"/>
              <a:gd name="T7" fmla="*/ 0 h 80"/>
              <a:gd name="T8" fmla="*/ 33 w 66"/>
              <a:gd name="T9" fmla="*/ 0 h 80"/>
              <a:gd name="T10" fmla="*/ 33 w 66"/>
              <a:gd name="T11" fmla="*/ 7 h 80"/>
              <a:gd name="T12" fmla="*/ 34 w 66"/>
              <a:gd name="T13" fmla="*/ 14 h 80"/>
              <a:gd name="T14" fmla="*/ 36 w 66"/>
              <a:gd name="T15" fmla="*/ 21 h 80"/>
              <a:gd name="T16" fmla="*/ 38 w 66"/>
              <a:gd name="T17" fmla="*/ 27 h 80"/>
              <a:gd name="T18" fmla="*/ 44 w 66"/>
              <a:gd name="T19" fmla="*/ 36 h 80"/>
              <a:gd name="T20" fmla="*/ 49 w 66"/>
              <a:gd name="T21" fmla="*/ 45 h 80"/>
              <a:gd name="T22" fmla="*/ 56 w 66"/>
              <a:gd name="T23" fmla="*/ 52 h 80"/>
              <a:gd name="T24" fmla="*/ 61 w 66"/>
              <a:gd name="T25" fmla="*/ 60 h 80"/>
              <a:gd name="T26" fmla="*/ 62 w 66"/>
              <a:gd name="T27" fmla="*/ 65 h 80"/>
              <a:gd name="T28" fmla="*/ 65 w 66"/>
              <a:gd name="T29" fmla="*/ 69 h 80"/>
              <a:gd name="T30" fmla="*/ 66 w 66"/>
              <a:gd name="T31" fmla="*/ 75 h 80"/>
              <a:gd name="T32" fmla="*/ 66 w 66"/>
              <a:gd name="T33" fmla="*/ 80 h 80"/>
              <a:gd name="T34" fmla="*/ 0 w 66"/>
              <a:gd name="T35" fmla="*/ 18 h 80"/>
              <a:gd name="T36" fmla="*/ 0 w 66"/>
              <a:gd name="T3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74" name="Freeform 326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>
              <a:gd name="T0" fmla="*/ 20 w 20"/>
              <a:gd name="T1" fmla="*/ 48 h 48"/>
              <a:gd name="T2" fmla="*/ 20 w 20"/>
              <a:gd name="T3" fmla="*/ 39 h 48"/>
              <a:gd name="T4" fmla="*/ 19 w 20"/>
              <a:gd name="T5" fmla="*/ 32 h 48"/>
              <a:gd name="T6" fmla="*/ 16 w 20"/>
              <a:gd name="T7" fmla="*/ 25 h 48"/>
              <a:gd name="T8" fmla="*/ 14 w 20"/>
              <a:gd name="T9" fmla="*/ 19 h 48"/>
              <a:gd name="T10" fmla="*/ 12 w 20"/>
              <a:gd name="T11" fmla="*/ 14 h 48"/>
              <a:gd name="T12" fmla="*/ 9 w 20"/>
              <a:gd name="T13" fmla="*/ 9 h 48"/>
              <a:gd name="T14" fmla="*/ 4 w 20"/>
              <a:gd name="T15" fmla="*/ 4 h 48"/>
              <a:gd name="T16" fmla="*/ 0 w 20"/>
              <a:gd name="T17" fmla="*/ 0 h 48"/>
              <a:gd name="T18" fmla="*/ 0 w 20"/>
              <a:gd name="T19" fmla="*/ 8 h 48"/>
              <a:gd name="T20" fmla="*/ 2 w 20"/>
              <a:gd name="T21" fmla="*/ 17 h 48"/>
              <a:gd name="T22" fmla="*/ 4 w 20"/>
              <a:gd name="T23" fmla="*/ 24 h 48"/>
              <a:gd name="T24" fmla="*/ 8 w 20"/>
              <a:gd name="T25" fmla="*/ 31 h 48"/>
              <a:gd name="T26" fmla="*/ 14 w 20"/>
              <a:gd name="T27" fmla="*/ 41 h 48"/>
              <a:gd name="T28" fmla="*/ 20 w 20"/>
              <a:gd name="T29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75" name="Line 327" descr="Horizontal dunkel"/>
          <p:cNvSpPr>
            <a:spLocks noChangeShapeType="1"/>
          </p:cNvSpPr>
          <p:nvPr>
            <p:custDataLst>
              <p:tags r:id="rId229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76" name="Freeform 328"/>
          <p:cNvSpPr>
            <a:spLocks/>
          </p:cNvSpPr>
          <p:nvPr>
            <p:custDataLst>
              <p:tags r:id="rId230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>
              <a:gd name="T0" fmla="*/ 20 w 20"/>
              <a:gd name="T1" fmla="*/ 12 h 12"/>
              <a:gd name="T2" fmla="*/ 20 w 20"/>
              <a:gd name="T3" fmla="*/ 8 h 12"/>
              <a:gd name="T4" fmla="*/ 18 w 20"/>
              <a:gd name="T5" fmla="*/ 5 h 12"/>
              <a:gd name="T6" fmla="*/ 15 w 20"/>
              <a:gd name="T7" fmla="*/ 3 h 12"/>
              <a:gd name="T8" fmla="*/ 13 w 20"/>
              <a:gd name="T9" fmla="*/ 2 h 12"/>
              <a:gd name="T10" fmla="*/ 7 w 20"/>
              <a:gd name="T11" fmla="*/ 0 h 12"/>
              <a:gd name="T12" fmla="*/ 0 w 20"/>
              <a:gd name="T1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77" name="Freeform 329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>
              <a:gd name="T0" fmla="*/ 7 w 53"/>
              <a:gd name="T1" fmla="*/ 0 h 30"/>
              <a:gd name="T2" fmla="*/ 11 w 53"/>
              <a:gd name="T3" fmla="*/ 4 h 30"/>
              <a:gd name="T4" fmla="*/ 23 w 53"/>
              <a:gd name="T5" fmla="*/ 13 h 30"/>
              <a:gd name="T6" fmla="*/ 37 w 53"/>
              <a:gd name="T7" fmla="*/ 23 h 30"/>
              <a:gd name="T8" fmla="*/ 46 w 53"/>
              <a:gd name="T9" fmla="*/ 30 h 30"/>
              <a:gd name="T10" fmla="*/ 49 w 53"/>
              <a:gd name="T11" fmla="*/ 18 h 30"/>
              <a:gd name="T12" fmla="*/ 53 w 53"/>
              <a:gd name="T13" fmla="*/ 6 h 30"/>
              <a:gd name="T14" fmla="*/ 37 w 53"/>
              <a:gd name="T15" fmla="*/ 5 h 30"/>
              <a:gd name="T16" fmla="*/ 26 w 53"/>
              <a:gd name="T17" fmla="*/ 3 h 30"/>
              <a:gd name="T18" fmla="*/ 21 w 53"/>
              <a:gd name="T19" fmla="*/ 3 h 30"/>
              <a:gd name="T20" fmla="*/ 15 w 53"/>
              <a:gd name="T21" fmla="*/ 3 h 30"/>
              <a:gd name="T22" fmla="*/ 9 w 53"/>
              <a:gd name="T23" fmla="*/ 4 h 30"/>
              <a:gd name="T24" fmla="*/ 0 w 53"/>
              <a:gd name="T25" fmla="*/ 6 h 30"/>
              <a:gd name="T26" fmla="*/ 7 w 53"/>
              <a:gd name="T2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78" name="Freeform 330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>
              <a:gd name="T0" fmla="*/ 0 w 33"/>
              <a:gd name="T1" fmla="*/ 6 h 31"/>
              <a:gd name="T2" fmla="*/ 4 w 33"/>
              <a:gd name="T3" fmla="*/ 21 h 31"/>
              <a:gd name="T4" fmla="*/ 7 w 33"/>
              <a:gd name="T5" fmla="*/ 31 h 31"/>
              <a:gd name="T6" fmla="*/ 22 w 33"/>
              <a:gd name="T7" fmla="*/ 31 h 31"/>
              <a:gd name="T8" fmla="*/ 33 w 33"/>
              <a:gd name="T9" fmla="*/ 31 h 31"/>
              <a:gd name="T10" fmla="*/ 33 w 33"/>
              <a:gd name="T11" fmla="*/ 0 h 31"/>
              <a:gd name="T12" fmla="*/ 27 w 33"/>
              <a:gd name="T13" fmla="*/ 0 h 31"/>
              <a:gd name="T14" fmla="*/ 19 w 33"/>
              <a:gd name="T15" fmla="*/ 0 h 31"/>
              <a:gd name="T16" fmla="*/ 10 w 33"/>
              <a:gd name="T17" fmla="*/ 0 h 31"/>
              <a:gd name="T18" fmla="*/ 0 w 33"/>
              <a:gd name="T19" fmla="*/ 0 h 31"/>
              <a:gd name="T20" fmla="*/ 0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79" name="Freeform 331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>
              <a:gd name="T0" fmla="*/ 19 w 65"/>
              <a:gd name="T1" fmla="*/ 68 h 68"/>
              <a:gd name="T2" fmla="*/ 16 w 65"/>
              <a:gd name="T3" fmla="*/ 68 h 68"/>
              <a:gd name="T4" fmla="*/ 14 w 65"/>
              <a:gd name="T5" fmla="*/ 66 h 68"/>
              <a:gd name="T6" fmla="*/ 11 w 65"/>
              <a:gd name="T7" fmla="*/ 64 h 68"/>
              <a:gd name="T8" fmla="*/ 7 w 65"/>
              <a:gd name="T9" fmla="*/ 61 h 68"/>
              <a:gd name="T10" fmla="*/ 4 w 65"/>
              <a:gd name="T11" fmla="*/ 59 h 68"/>
              <a:gd name="T12" fmla="*/ 2 w 65"/>
              <a:gd name="T13" fmla="*/ 55 h 68"/>
              <a:gd name="T14" fmla="*/ 0 w 65"/>
              <a:gd name="T15" fmla="*/ 52 h 68"/>
              <a:gd name="T16" fmla="*/ 0 w 65"/>
              <a:gd name="T17" fmla="*/ 49 h 68"/>
              <a:gd name="T18" fmla="*/ 0 w 65"/>
              <a:gd name="T19" fmla="*/ 38 h 68"/>
              <a:gd name="T20" fmla="*/ 2 w 65"/>
              <a:gd name="T21" fmla="*/ 29 h 68"/>
              <a:gd name="T22" fmla="*/ 5 w 65"/>
              <a:gd name="T23" fmla="*/ 21 h 68"/>
              <a:gd name="T24" fmla="*/ 9 w 65"/>
              <a:gd name="T25" fmla="*/ 14 h 68"/>
              <a:gd name="T26" fmla="*/ 15 w 65"/>
              <a:gd name="T27" fmla="*/ 8 h 68"/>
              <a:gd name="T28" fmla="*/ 22 w 65"/>
              <a:gd name="T29" fmla="*/ 4 h 68"/>
              <a:gd name="T30" fmla="*/ 30 w 65"/>
              <a:gd name="T31" fmla="*/ 2 h 68"/>
              <a:gd name="T32" fmla="*/ 39 w 65"/>
              <a:gd name="T33" fmla="*/ 0 h 68"/>
              <a:gd name="T34" fmla="*/ 52 w 65"/>
              <a:gd name="T35" fmla="*/ 0 h 68"/>
              <a:gd name="T36" fmla="*/ 65 w 65"/>
              <a:gd name="T37" fmla="*/ 0 h 68"/>
              <a:gd name="T38" fmla="*/ 65 w 65"/>
              <a:gd name="T39" fmla="*/ 43 h 68"/>
              <a:gd name="T40" fmla="*/ 56 w 65"/>
              <a:gd name="T41" fmla="*/ 52 h 68"/>
              <a:gd name="T42" fmla="*/ 45 w 65"/>
              <a:gd name="T43" fmla="*/ 61 h 68"/>
              <a:gd name="T44" fmla="*/ 39 w 65"/>
              <a:gd name="T45" fmla="*/ 64 h 68"/>
              <a:gd name="T46" fmla="*/ 34 w 65"/>
              <a:gd name="T47" fmla="*/ 66 h 68"/>
              <a:gd name="T48" fmla="*/ 27 w 65"/>
              <a:gd name="T49" fmla="*/ 68 h 68"/>
              <a:gd name="T50" fmla="*/ 19 w 65"/>
              <a:gd name="T51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80" name="Freeform 332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>
              <a:gd name="T0" fmla="*/ 502 w 625"/>
              <a:gd name="T1" fmla="*/ 337 h 694"/>
              <a:gd name="T2" fmla="*/ 484 w 625"/>
              <a:gd name="T3" fmla="*/ 341 h 694"/>
              <a:gd name="T4" fmla="*/ 479 w 625"/>
              <a:gd name="T5" fmla="*/ 382 h 694"/>
              <a:gd name="T6" fmla="*/ 515 w 625"/>
              <a:gd name="T7" fmla="*/ 404 h 694"/>
              <a:gd name="T8" fmla="*/ 534 w 625"/>
              <a:gd name="T9" fmla="*/ 405 h 694"/>
              <a:gd name="T10" fmla="*/ 550 w 625"/>
              <a:gd name="T11" fmla="*/ 424 h 694"/>
              <a:gd name="T12" fmla="*/ 560 w 625"/>
              <a:gd name="T13" fmla="*/ 459 h 694"/>
              <a:gd name="T14" fmla="*/ 572 w 625"/>
              <a:gd name="T15" fmla="*/ 474 h 694"/>
              <a:gd name="T16" fmla="*/ 588 w 625"/>
              <a:gd name="T17" fmla="*/ 483 h 694"/>
              <a:gd name="T18" fmla="*/ 614 w 625"/>
              <a:gd name="T19" fmla="*/ 487 h 694"/>
              <a:gd name="T20" fmla="*/ 625 w 625"/>
              <a:gd name="T21" fmla="*/ 505 h 694"/>
              <a:gd name="T22" fmla="*/ 625 w 625"/>
              <a:gd name="T23" fmla="*/ 539 h 694"/>
              <a:gd name="T24" fmla="*/ 618 w 625"/>
              <a:gd name="T25" fmla="*/ 603 h 694"/>
              <a:gd name="T26" fmla="*/ 611 w 625"/>
              <a:gd name="T27" fmla="*/ 672 h 694"/>
              <a:gd name="T28" fmla="*/ 562 w 625"/>
              <a:gd name="T29" fmla="*/ 693 h 694"/>
              <a:gd name="T30" fmla="*/ 539 w 625"/>
              <a:gd name="T31" fmla="*/ 693 h 694"/>
              <a:gd name="T32" fmla="*/ 394 w 625"/>
              <a:gd name="T33" fmla="*/ 564 h 694"/>
              <a:gd name="T34" fmla="*/ 397 w 625"/>
              <a:gd name="T35" fmla="*/ 552 h 694"/>
              <a:gd name="T36" fmla="*/ 394 w 625"/>
              <a:gd name="T37" fmla="*/ 539 h 694"/>
              <a:gd name="T38" fmla="*/ 338 w 625"/>
              <a:gd name="T39" fmla="*/ 488 h 694"/>
              <a:gd name="T40" fmla="*/ 305 w 625"/>
              <a:gd name="T41" fmla="*/ 453 h 694"/>
              <a:gd name="T42" fmla="*/ 293 w 625"/>
              <a:gd name="T43" fmla="*/ 419 h 694"/>
              <a:gd name="T44" fmla="*/ 291 w 625"/>
              <a:gd name="T45" fmla="*/ 381 h 694"/>
              <a:gd name="T46" fmla="*/ 285 w 625"/>
              <a:gd name="T47" fmla="*/ 360 h 694"/>
              <a:gd name="T48" fmla="*/ 268 w 625"/>
              <a:gd name="T49" fmla="*/ 342 h 694"/>
              <a:gd name="T50" fmla="*/ 241 w 625"/>
              <a:gd name="T51" fmla="*/ 310 h 694"/>
              <a:gd name="T52" fmla="*/ 224 w 625"/>
              <a:gd name="T53" fmla="*/ 269 h 694"/>
              <a:gd name="T54" fmla="*/ 213 w 625"/>
              <a:gd name="T55" fmla="*/ 238 h 694"/>
              <a:gd name="T56" fmla="*/ 190 w 625"/>
              <a:gd name="T57" fmla="*/ 212 h 694"/>
              <a:gd name="T58" fmla="*/ 150 w 625"/>
              <a:gd name="T59" fmla="*/ 171 h 694"/>
              <a:gd name="T60" fmla="*/ 136 w 625"/>
              <a:gd name="T61" fmla="*/ 146 h 694"/>
              <a:gd name="T62" fmla="*/ 112 w 625"/>
              <a:gd name="T63" fmla="*/ 132 h 694"/>
              <a:gd name="T64" fmla="*/ 80 w 625"/>
              <a:gd name="T65" fmla="*/ 113 h 694"/>
              <a:gd name="T66" fmla="*/ 49 w 625"/>
              <a:gd name="T67" fmla="*/ 85 h 694"/>
              <a:gd name="T68" fmla="*/ 23 w 625"/>
              <a:gd name="T69" fmla="*/ 51 h 694"/>
              <a:gd name="T70" fmla="*/ 5 w 625"/>
              <a:gd name="T71" fmla="*/ 19 h 694"/>
              <a:gd name="T72" fmla="*/ 10 w 625"/>
              <a:gd name="T73" fmla="*/ 4 h 694"/>
              <a:gd name="T74" fmla="*/ 37 w 625"/>
              <a:gd name="T75" fmla="*/ 13 h 694"/>
              <a:gd name="T76" fmla="*/ 84 w 625"/>
              <a:gd name="T77" fmla="*/ 16 h 694"/>
              <a:gd name="T78" fmla="*/ 116 w 625"/>
              <a:gd name="T79" fmla="*/ 20 h 694"/>
              <a:gd name="T80" fmla="*/ 138 w 625"/>
              <a:gd name="T81" fmla="*/ 27 h 694"/>
              <a:gd name="T82" fmla="*/ 156 w 625"/>
              <a:gd name="T83" fmla="*/ 42 h 694"/>
              <a:gd name="T84" fmla="*/ 204 w 625"/>
              <a:gd name="T85" fmla="*/ 109 h 694"/>
              <a:gd name="T86" fmla="*/ 254 w 625"/>
              <a:gd name="T87" fmla="*/ 163 h 694"/>
              <a:gd name="T88" fmla="*/ 299 w 625"/>
              <a:gd name="T89" fmla="*/ 202 h 694"/>
              <a:gd name="T90" fmla="*/ 329 w 625"/>
              <a:gd name="T91" fmla="*/ 219 h 694"/>
              <a:gd name="T92" fmla="*/ 366 w 625"/>
              <a:gd name="T93" fmla="*/ 227 h 694"/>
              <a:gd name="T94" fmla="*/ 388 w 625"/>
              <a:gd name="T95" fmla="*/ 230 h 694"/>
              <a:gd name="T96" fmla="*/ 401 w 625"/>
              <a:gd name="T97" fmla="*/ 241 h 694"/>
              <a:gd name="T98" fmla="*/ 416 w 625"/>
              <a:gd name="T99" fmla="*/ 260 h 694"/>
              <a:gd name="T100" fmla="*/ 427 w 625"/>
              <a:gd name="T101" fmla="*/ 265 h 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82" name="Freeform 334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>
              <a:gd name="T0" fmla="*/ 0 w 212"/>
              <a:gd name="T1" fmla="*/ 105 h 105"/>
              <a:gd name="T2" fmla="*/ 16 w 212"/>
              <a:gd name="T3" fmla="*/ 85 h 105"/>
              <a:gd name="T4" fmla="*/ 35 w 212"/>
              <a:gd name="T5" fmla="*/ 68 h 105"/>
              <a:gd name="T6" fmla="*/ 44 w 212"/>
              <a:gd name="T7" fmla="*/ 60 h 105"/>
              <a:gd name="T8" fmla="*/ 54 w 212"/>
              <a:gd name="T9" fmla="*/ 53 h 105"/>
              <a:gd name="T10" fmla="*/ 64 w 212"/>
              <a:gd name="T11" fmla="*/ 46 h 105"/>
              <a:gd name="T12" fmla="*/ 73 w 212"/>
              <a:gd name="T13" fmla="*/ 38 h 105"/>
              <a:gd name="T14" fmla="*/ 83 w 212"/>
              <a:gd name="T15" fmla="*/ 32 h 105"/>
              <a:gd name="T16" fmla="*/ 94 w 212"/>
              <a:gd name="T17" fmla="*/ 27 h 105"/>
              <a:gd name="T18" fmla="*/ 106 w 212"/>
              <a:gd name="T19" fmla="*/ 21 h 105"/>
              <a:gd name="T20" fmla="*/ 118 w 212"/>
              <a:gd name="T21" fmla="*/ 16 h 105"/>
              <a:gd name="T22" fmla="*/ 144 w 212"/>
              <a:gd name="T23" fmla="*/ 8 h 105"/>
              <a:gd name="T24" fmla="*/ 172 w 212"/>
              <a:gd name="T25" fmla="*/ 0 h 105"/>
              <a:gd name="T26" fmla="*/ 212 w 212"/>
              <a:gd name="T27" fmla="*/ 0 h 105"/>
              <a:gd name="T28" fmla="*/ 202 w 212"/>
              <a:gd name="T29" fmla="*/ 9 h 105"/>
              <a:gd name="T30" fmla="*/ 190 w 212"/>
              <a:gd name="T31" fmla="*/ 18 h 105"/>
              <a:gd name="T32" fmla="*/ 178 w 212"/>
              <a:gd name="T33" fmla="*/ 27 h 105"/>
              <a:gd name="T34" fmla="*/ 165 w 212"/>
              <a:gd name="T35" fmla="*/ 35 h 105"/>
              <a:gd name="T36" fmla="*/ 137 w 212"/>
              <a:gd name="T37" fmla="*/ 52 h 105"/>
              <a:gd name="T38" fmla="*/ 109 w 212"/>
              <a:gd name="T39" fmla="*/ 66 h 105"/>
              <a:gd name="T40" fmla="*/ 79 w 212"/>
              <a:gd name="T41" fmla="*/ 79 h 105"/>
              <a:gd name="T42" fmla="*/ 50 w 212"/>
              <a:gd name="T43" fmla="*/ 90 h 105"/>
              <a:gd name="T44" fmla="*/ 23 w 212"/>
              <a:gd name="T45" fmla="*/ 99 h 105"/>
              <a:gd name="T46" fmla="*/ 0 w 212"/>
              <a:gd name="T47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83" name="Freeform 335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>
              <a:gd name="T0" fmla="*/ 0 w 92"/>
              <a:gd name="T1" fmla="*/ 81 h 166"/>
              <a:gd name="T2" fmla="*/ 0 w 92"/>
              <a:gd name="T3" fmla="*/ 148 h 166"/>
              <a:gd name="T4" fmla="*/ 5 w 92"/>
              <a:gd name="T5" fmla="*/ 144 h 166"/>
              <a:gd name="T6" fmla="*/ 12 w 92"/>
              <a:gd name="T7" fmla="*/ 139 h 166"/>
              <a:gd name="T8" fmla="*/ 14 w 92"/>
              <a:gd name="T9" fmla="*/ 137 h 166"/>
              <a:gd name="T10" fmla="*/ 17 w 92"/>
              <a:gd name="T11" fmla="*/ 135 h 166"/>
              <a:gd name="T12" fmla="*/ 18 w 92"/>
              <a:gd name="T13" fmla="*/ 132 h 166"/>
              <a:gd name="T14" fmla="*/ 19 w 92"/>
              <a:gd name="T15" fmla="*/ 130 h 166"/>
              <a:gd name="T16" fmla="*/ 20 w 92"/>
              <a:gd name="T17" fmla="*/ 138 h 166"/>
              <a:gd name="T18" fmla="*/ 24 w 92"/>
              <a:gd name="T19" fmla="*/ 148 h 166"/>
              <a:gd name="T20" fmla="*/ 27 w 92"/>
              <a:gd name="T21" fmla="*/ 154 h 166"/>
              <a:gd name="T22" fmla="*/ 30 w 92"/>
              <a:gd name="T23" fmla="*/ 159 h 166"/>
              <a:gd name="T24" fmla="*/ 35 w 92"/>
              <a:gd name="T25" fmla="*/ 163 h 166"/>
              <a:gd name="T26" fmla="*/ 39 w 92"/>
              <a:gd name="T27" fmla="*/ 166 h 166"/>
              <a:gd name="T28" fmla="*/ 41 w 92"/>
              <a:gd name="T29" fmla="*/ 158 h 166"/>
              <a:gd name="T30" fmla="*/ 41 w 92"/>
              <a:gd name="T31" fmla="*/ 148 h 166"/>
              <a:gd name="T32" fmla="*/ 41 w 92"/>
              <a:gd name="T33" fmla="*/ 137 h 166"/>
              <a:gd name="T34" fmla="*/ 41 w 92"/>
              <a:gd name="T35" fmla="*/ 126 h 166"/>
              <a:gd name="T36" fmla="*/ 40 w 92"/>
              <a:gd name="T37" fmla="*/ 107 h 166"/>
              <a:gd name="T38" fmla="*/ 39 w 92"/>
              <a:gd name="T39" fmla="*/ 99 h 166"/>
              <a:gd name="T40" fmla="*/ 48 w 92"/>
              <a:gd name="T41" fmla="*/ 100 h 166"/>
              <a:gd name="T42" fmla="*/ 57 w 92"/>
              <a:gd name="T43" fmla="*/ 102 h 166"/>
              <a:gd name="T44" fmla="*/ 64 w 92"/>
              <a:gd name="T45" fmla="*/ 105 h 166"/>
              <a:gd name="T46" fmla="*/ 71 w 92"/>
              <a:gd name="T47" fmla="*/ 108 h 166"/>
              <a:gd name="T48" fmla="*/ 76 w 92"/>
              <a:gd name="T49" fmla="*/ 111 h 166"/>
              <a:gd name="T50" fmla="*/ 82 w 92"/>
              <a:gd name="T51" fmla="*/ 114 h 166"/>
              <a:gd name="T52" fmla="*/ 87 w 92"/>
              <a:gd name="T53" fmla="*/ 116 h 166"/>
              <a:gd name="T54" fmla="*/ 92 w 92"/>
              <a:gd name="T55" fmla="*/ 118 h 166"/>
              <a:gd name="T56" fmla="*/ 85 w 92"/>
              <a:gd name="T57" fmla="*/ 103 h 166"/>
              <a:gd name="T58" fmla="*/ 81 w 92"/>
              <a:gd name="T59" fmla="*/ 89 h 166"/>
              <a:gd name="T60" fmla="*/ 76 w 92"/>
              <a:gd name="T61" fmla="*/ 75 h 166"/>
              <a:gd name="T62" fmla="*/ 73 w 92"/>
              <a:gd name="T63" fmla="*/ 60 h 166"/>
              <a:gd name="T64" fmla="*/ 70 w 92"/>
              <a:gd name="T65" fmla="*/ 47 h 166"/>
              <a:gd name="T66" fmla="*/ 67 w 92"/>
              <a:gd name="T67" fmla="*/ 34 h 166"/>
              <a:gd name="T68" fmla="*/ 63 w 92"/>
              <a:gd name="T69" fmla="*/ 23 h 166"/>
              <a:gd name="T70" fmla="*/ 59 w 92"/>
              <a:gd name="T71" fmla="*/ 13 h 166"/>
              <a:gd name="T72" fmla="*/ 59 w 92"/>
              <a:gd name="T73" fmla="*/ 19 h 166"/>
              <a:gd name="T74" fmla="*/ 59 w 92"/>
              <a:gd name="T75" fmla="*/ 25 h 166"/>
              <a:gd name="T76" fmla="*/ 50 w 92"/>
              <a:gd name="T77" fmla="*/ 23 h 166"/>
              <a:gd name="T78" fmla="*/ 42 w 92"/>
              <a:gd name="T79" fmla="*/ 19 h 166"/>
              <a:gd name="T80" fmla="*/ 35 w 92"/>
              <a:gd name="T81" fmla="*/ 15 h 166"/>
              <a:gd name="T82" fmla="*/ 29 w 92"/>
              <a:gd name="T83" fmla="*/ 11 h 166"/>
              <a:gd name="T84" fmla="*/ 23 w 92"/>
              <a:gd name="T85" fmla="*/ 7 h 166"/>
              <a:gd name="T86" fmla="*/ 16 w 92"/>
              <a:gd name="T87" fmla="*/ 3 h 166"/>
              <a:gd name="T88" fmla="*/ 8 w 92"/>
              <a:gd name="T89" fmla="*/ 1 h 166"/>
              <a:gd name="T90" fmla="*/ 0 w 92"/>
              <a:gd name="T91" fmla="*/ 0 h 166"/>
              <a:gd name="T92" fmla="*/ 0 w 92"/>
              <a:gd name="T93" fmla="*/ 10 h 166"/>
              <a:gd name="T94" fmla="*/ 0 w 92"/>
              <a:gd name="T95" fmla="*/ 19 h 166"/>
              <a:gd name="T96" fmla="*/ 0 w 92"/>
              <a:gd name="T97" fmla="*/ 33 h 166"/>
              <a:gd name="T98" fmla="*/ 0 w 92"/>
              <a:gd name="T99" fmla="*/ 52 h 166"/>
              <a:gd name="T100" fmla="*/ 0 w 92"/>
              <a:gd name="T101" fmla="*/ 70 h 166"/>
              <a:gd name="T102" fmla="*/ 0 w 92"/>
              <a:gd name="T103" fmla="*/ 81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84" name="Freeform 336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>
              <a:gd name="T0" fmla="*/ 7 w 166"/>
              <a:gd name="T1" fmla="*/ 0 h 62"/>
              <a:gd name="T2" fmla="*/ 14 w 166"/>
              <a:gd name="T3" fmla="*/ 3 h 62"/>
              <a:gd name="T4" fmla="*/ 22 w 166"/>
              <a:gd name="T5" fmla="*/ 6 h 62"/>
              <a:gd name="T6" fmla="*/ 30 w 166"/>
              <a:gd name="T7" fmla="*/ 7 h 62"/>
              <a:gd name="T8" fmla="*/ 36 w 166"/>
              <a:gd name="T9" fmla="*/ 8 h 62"/>
              <a:gd name="T10" fmla="*/ 48 w 166"/>
              <a:gd name="T11" fmla="*/ 8 h 62"/>
              <a:gd name="T12" fmla="*/ 58 w 166"/>
              <a:gd name="T13" fmla="*/ 7 h 62"/>
              <a:gd name="T14" fmla="*/ 69 w 166"/>
              <a:gd name="T15" fmla="*/ 5 h 62"/>
              <a:gd name="T16" fmla="*/ 80 w 166"/>
              <a:gd name="T17" fmla="*/ 3 h 62"/>
              <a:gd name="T18" fmla="*/ 92 w 166"/>
              <a:gd name="T19" fmla="*/ 1 h 62"/>
              <a:gd name="T20" fmla="*/ 106 w 166"/>
              <a:gd name="T21" fmla="*/ 0 h 62"/>
              <a:gd name="T22" fmla="*/ 111 w 166"/>
              <a:gd name="T23" fmla="*/ 1 h 62"/>
              <a:gd name="T24" fmla="*/ 115 w 166"/>
              <a:gd name="T25" fmla="*/ 2 h 62"/>
              <a:gd name="T26" fmla="*/ 120 w 166"/>
              <a:gd name="T27" fmla="*/ 5 h 62"/>
              <a:gd name="T28" fmla="*/ 124 w 166"/>
              <a:gd name="T29" fmla="*/ 8 h 62"/>
              <a:gd name="T30" fmla="*/ 132 w 166"/>
              <a:gd name="T31" fmla="*/ 17 h 62"/>
              <a:gd name="T32" fmla="*/ 138 w 166"/>
              <a:gd name="T33" fmla="*/ 26 h 62"/>
              <a:gd name="T34" fmla="*/ 145 w 166"/>
              <a:gd name="T35" fmla="*/ 36 h 62"/>
              <a:gd name="T36" fmla="*/ 151 w 166"/>
              <a:gd name="T37" fmla="*/ 45 h 62"/>
              <a:gd name="T38" fmla="*/ 155 w 166"/>
              <a:gd name="T39" fmla="*/ 49 h 62"/>
              <a:gd name="T40" fmla="*/ 158 w 166"/>
              <a:gd name="T41" fmla="*/ 52 h 62"/>
              <a:gd name="T42" fmla="*/ 162 w 166"/>
              <a:gd name="T43" fmla="*/ 54 h 62"/>
              <a:gd name="T44" fmla="*/ 166 w 166"/>
              <a:gd name="T45" fmla="*/ 56 h 62"/>
              <a:gd name="T46" fmla="*/ 159 w 166"/>
              <a:gd name="T47" fmla="*/ 57 h 62"/>
              <a:gd name="T48" fmla="*/ 151 w 166"/>
              <a:gd name="T49" fmla="*/ 59 h 62"/>
              <a:gd name="T50" fmla="*/ 143 w 166"/>
              <a:gd name="T51" fmla="*/ 61 h 62"/>
              <a:gd name="T52" fmla="*/ 133 w 166"/>
              <a:gd name="T53" fmla="*/ 62 h 62"/>
              <a:gd name="T54" fmla="*/ 125 w 166"/>
              <a:gd name="T55" fmla="*/ 61 h 62"/>
              <a:gd name="T56" fmla="*/ 119 w 166"/>
              <a:gd name="T57" fmla="*/ 58 h 62"/>
              <a:gd name="T58" fmla="*/ 112 w 166"/>
              <a:gd name="T59" fmla="*/ 54 h 62"/>
              <a:gd name="T60" fmla="*/ 106 w 166"/>
              <a:gd name="T61" fmla="*/ 50 h 62"/>
              <a:gd name="T62" fmla="*/ 100 w 166"/>
              <a:gd name="T63" fmla="*/ 45 h 62"/>
              <a:gd name="T64" fmla="*/ 93 w 166"/>
              <a:gd name="T65" fmla="*/ 41 h 62"/>
              <a:gd name="T66" fmla="*/ 87 w 166"/>
              <a:gd name="T67" fmla="*/ 39 h 62"/>
              <a:gd name="T68" fmla="*/ 79 w 166"/>
              <a:gd name="T69" fmla="*/ 38 h 62"/>
              <a:gd name="T70" fmla="*/ 56 w 166"/>
              <a:gd name="T71" fmla="*/ 38 h 62"/>
              <a:gd name="T72" fmla="*/ 35 w 166"/>
              <a:gd name="T73" fmla="*/ 39 h 62"/>
              <a:gd name="T74" fmla="*/ 26 w 166"/>
              <a:gd name="T75" fmla="*/ 41 h 62"/>
              <a:gd name="T76" fmla="*/ 19 w 166"/>
              <a:gd name="T77" fmla="*/ 43 h 62"/>
              <a:gd name="T78" fmla="*/ 12 w 166"/>
              <a:gd name="T79" fmla="*/ 46 h 62"/>
              <a:gd name="T80" fmla="*/ 7 w 166"/>
              <a:gd name="T81" fmla="*/ 50 h 62"/>
              <a:gd name="T82" fmla="*/ 2 w 166"/>
              <a:gd name="T83" fmla="*/ 45 h 62"/>
              <a:gd name="T84" fmla="*/ 1 w 166"/>
              <a:gd name="T85" fmla="*/ 40 h 62"/>
              <a:gd name="T86" fmla="*/ 0 w 166"/>
              <a:gd name="T87" fmla="*/ 34 h 62"/>
              <a:gd name="T88" fmla="*/ 1 w 166"/>
              <a:gd name="T89" fmla="*/ 28 h 62"/>
              <a:gd name="T90" fmla="*/ 4 w 166"/>
              <a:gd name="T91" fmla="*/ 15 h 62"/>
              <a:gd name="T92" fmla="*/ 7 w 166"/>
              <a:gd name="T93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85" name="Freeform 337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>
              <a:gd name="T0" fmla="*/ 33 w 193"/>
              <a:gd name="T1" fmla="*/ 35 h 121"/>
              <a:gd name="T2" fmla="*/ 48 w 193"/>
              <a:gd name="T3" fmla="*/ 25 h 121"/>
              <a:gd name="T4" fmla="*/ 68 w 193"/>
              <a:gd name="T5" fmla="*/ 12 h 121"/>
              <a:gd name="T6" fmla="*/ 84 w 193"/>
              <a:gd name="T7" fmla="*/ 4 h 121"/>
              <a:gd name="T8" fmla="*/ 94 w 193"/>
              <a:gd name="T9" fmla="*/ 1 h 121"/>
              <a:gd name="T10" fmla="*/ 105 w 193"/>
              <a:gd name="T11" fmla="*/ 1 h 121"/>
              <a:gd name="T12" fmla="*/ 116 w 193"/>
              <a:gd name="T13" fmla="*/ 3 h 121"/>
              <a:gd name="T14" fmla="*/ 131 w 193"/>
              <a:gd name="T15" fmla="*/ 10 h 121"/>
              <a:gd name="T16" fmla="*/ 148 w 193"/>
              <a:gd name="T17" fmla="*/ 21 h 121"/>
              <a:gd name="T18" fmla="*/ 162 w 193"/>
              <a:gd name="T19" fmla="*/ 28 h 121"/>
              <a:gd name="T20" fmla="*/ 173 w 193"/>
              <a:gd name="T21" fmla="*/ 30 h 121"/>
              <a:gd name="T22" fmla="*/ 179 w 193"/>
              <a:gd name="T23" fmla="*/ 48 h 121"/>
              <a:gd name="T24" fmla="*/ 178 w 193"/>
              <a:gd name="T25" fmla="*/ 66 h 121"/>
              <a:gd name="T26" fmla="*/ 182 w 193"/>
              <a:gd name="T27" fmla="*/ 75 h 121"/>
              <a:gd name="T28" fmla="*/ 187 w 193"/>
              <a:gd name="T29" fmla="*/ 89 h 121"/>
              <a:gd name="T30" fmla="*/ 188 w 193"/>
              <a:gd name="T31" fmla="*/ 102 h 121"/>
              <a:gd name="T32" fmla="*/ 191 w 193"/>
              <a:gd name="T33" fmla="*/ 109 h 121"/>
              <a:gd name="T34" fmla="*/ 188 w 193"/>
              <a:gd name="T35" fmla="*/ 114 h 121"/>
              <a:gd name="T36" fmla="*/ 177 w 193"/>
              <a:gd name="T37" fmla="*/ 118 h 121"/>
              <a:gd name="T38" fmla="*/ 159 w 193"/>
              <a:gd name="T39" fmla="*/ 121 h 121"/>
              <a:gd name="T40" fmla="*/ 116 w 193"/>
              <a:gd name="T41" fmla="*/ 119 h 121"/>
              <a:gd name="T42" fmla="*/ 72 w 193"/>
              <a:gd name="T43" fmla="*/ 116 h 121"/>
              <a:gd name="T44" fmla="*/ 63 w 193"/>
              <a:gd name="T45" fmla="*/ 110 h 121"/>
              <a:gd name="T46" fmla="*/ 56 w 193"/>
              <a:gd name="T47" fmla="*/ 100 h 121"/>
              <a:gd name="T48" fmla="*/ 54 w 193"/>
              <a:gd name="T49" fmla="*/ 87 h 121"/>
              <a:gd name="T50" fmla="*/ 47 w 193"/>
              <a:gd name="T51" fmla="*/ 79 h 121"/>
              <a:gd name="T52" fmla="*/ 31 w 193"/>
              <a:gd name="T53" fmla="*/ 75 h 121"/>
              <a:gd name="T54" fmla="*/ 13 w 193"/>
              <a:gd name="T55" fmla="*/ 69 h 121"/>
              <a:gd name="T56" fmla="*/ 3 w 193"/>
              <a:gd name="T57" fmla="*/ 62 h 121"/>
              <a:gd name="T58" fmla="*/ 0 w 193"/>
              <a:gd name="T59" fmla="*/ 58 h 121"/>
              <a:gd name="T60" fmla="*/ 1 w 193"/>
              <a:gd name="T61" fmla="*/ 51 h 121"/>
              <a:gd name="T62" fmla="*/ 7 w 193"/>
              <a:gd name="T63" fmla="*/ 45 h 121"/>
              <a:gd name="T64" fmla="*/ 20 w 193"/>
              <a:gd name="T65" fmla="*/ 38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A5D7D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86" name="Freeform 338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>
              <a:gd name="T0" fmla="*/ 37 w 379"/>
              <a:gd name="T1" fmla="*/ 419 h 437"/>
              <a:gd name="T2" fmla="*/ 46 w 379"/>
              <a:gd name="T3" fmla="*/ 407 h 437"/>
              <a:gd name="T4" fmla="*/ 24 w 379"/>
              <a:gd name="T5" fmla="*/ 311 h 437"/>
              <a:gd name="T6" fmla="*/ 2 w 379"/>
              <a:gd name="T7" fmla="*/ 294 h 437"/>
              <a:gd name="T8" fmla="*/ 15 w 379"/>
              <a:gd name="T9" fmla="*/ 270 h 437"/>
              <a:gd name="T10" fmla="*/ 31 w 379"/>
              <a:gd name="T11" fmla="*/ 221 h 437"/>
              <a:gd name="T12" fmla="*/ 39 w 379"/>
              <a:gd name="T13" fmla="*/ 172 h 437"/>
              <a:gd name="T14" fmla="*/ 57 w 379"/>
              <a:gd name="T15" fmla="*/ 159 h 437"/>
              <a:gd name="T16" fmla="*/ 65 w 379"/>
              <a:gd name="T17" fmla="*/ 130 h 437"/>
              <a:gd name="T18" fmla="*/ 76 w 379"/>
              <a:gd name="T19" fmla="*/ 78 h 437"/>
              <a:gd name="T20" fmla="*/ 90 w 379"/>
              <a:gd name="T21" fmla="*/ 51 h 437"/>
              <a:gd name="T22" fmla="*/ 115 w 379"/>
              <a:gd name="T23" fmla="*/ 31 h 437"/>
              <a:gd name="T24" fmla="*/ 153 w 379"/>
              <a:gd name="T25" fmla="*/ 25 h 437"/>
              <a:gd name="T26" fmla="*/ 217 w 379"/>
              <a:gd name="T27" fmla="*/ 38 h 437"/>
              <a:gd name="T28" fmla="*/ 262 w 379"/>
              <a:gd name="T29" fmla="*/ 48 h 437"/>
              <a:gd name="T30" fmla="*/ 303 w 379"/>
              <a:gd name="T31" fmla="*/ 45 h 437"/>
              <a:gd name="T32" fmla="*/ 329 w 379"/>
              <a:gd name="T33" fmla="*/ 31 h 437"/>
              <a:gd name="T34" fmla="*/ 356 w 379"/>
              <a:gd name="T35" fmla="*/ 7 h 437"/>
              <a:gd name="T36" fmla="*/ 374 w 379"/>
              <a:gd name="T37" fmla="*/ 9 h 437"/>
              <a:gd name="T38" fmla="*/ 372 w 379"/>
              <a:gd name="T39" fmla="*/ 35 h 437"/>
              <a:gd name="T40" fmla="*/ 329 w 379"/>
              <a:gd name="T41" fmla="*/ 80 h 437"/>
              <a:gd name="T42" fmla="*/ 292 w 379"/>
              <a:gd name="T43" fmla="*/ 97 h 437"/>
              <a:gd name="T44" fmla="*/ 271 w 379"/>
              <a:gd name="T45" fmla="*/ 94 h 437"/>
              <a:gd name="T46" fmla="*/ 238 w 379"/>
              <a:gd name="T47" fmla="*/ 69 h 437"/>
              <a:gd name="T48" fmla="*/ 212 w 379"/>
              <a:gd name="T49" fmla="*/ 56 h 437"/>
              <a:gd name="T50" fmla="*/ 177 w 379"/>
              <a:gd name="T51" fmla="*/ 56 h 437"/>
              <a:gd name="T52" fmla="*/ 138 w 379"/>
              <a:gd name="T53" fmla="*/ 61 h 437"/>
              <a:gd name="T54" fmla="*/ 114 w 379"/>
              <a:gd name="T55" fmla="*/ 79 h 437"/>
              <a:gd name="T56" fmla="*/ 79 w 379"/>
              <a:gd name="T57" fmla="*/ 161 h 437"/>
              <a:gd name="T58" fmla="*/ 119 w 379"/>
              <a:gd name="T59" fmla="*/ 169 h 437"/>
              <a:gd name="T60" fmla="*/ 133 w 379"/>
              <a:gd name="T61" fmla="*/ 191 h 437"/>
              <a:gd name="T62" fmla="*/ 155 w 379"/>
              <a:gd name="T63" fmla="*/ 168 h 437"/>
              <a:gd name="T64" fmla="*/ 172 w 379"/>
              <a:gd name="T65" fmla="*/ 153 h 437"/>
              <a:gd name="T66" fmla="*/ 221 w 379"/>
              <a:gd name="T67" fmla="*/ 150 h 437"/>
              <a:gd name="T68" fmla="*/ 250 w 379"/>
              <a:gd name="T69" fmla="*/ 147 h 437"/>
              <a:gd name="T70" fmla="*/ 273 w 379"/>
              <a:gd name="T71" fmla="*/ 173 h 437"/>
              <a:gd name="T72" fmla="*/ 279 w 379"/>
              <a:gd name="T73" fmla="*/ 203 h 437"/>
              <a:gd name="T74" fmla="*/ 246 w 379"/>
              <a:gd name="T75" fmla="*/ 192 h 437"/>
              <a:gd name="T76" fmla="*/ 218 w 379"/>
              <a:gd name="T77" fmla="*/ 185 h 437"/>
              <a:gd name="T78" fmla="*/ 192 w 379"/>
              <a:gd name="T79" fmla="*/ 195 h 437"/>
              <a:gd name="T80" fmla="*/ 186 w 379"/>
              <a:gd name="T81" fmla="*/ 209 h 437"/>
              <a:gd name="T82" fmla="*/ 192 w 379"/>
              <a:gd name="T83" fmla="*/ 233 h 437"/>
              <a:gd name="T84" fmla="*/ 220 w 379"/>
              <a:gd name="T85" fmla="*/ 272 h 437"/>
              <a:gd name="T86" fmla="*/ 225 w 379"/>
              <a:gd name="T87" fmla="*/ 296 h 437"/>
              <a:gd name="T88" fmla="*/ 215 w 379"/>
              <a:gd name="T89" fmla="*/ 322 h 437"/>
              <a:gd name="T90" fmla="*/ 205 w 379"/>
              <a:gd name="T91" fmla="*/ 345 h 437"/>
              <a:gd name="T92" fmla="*/ 210 w 379"/>
              <a:gd name="T93" fmla="*/ 356 h 437"/>
              <a:gd name="T94" fmla="*/ 236 w 379"/>
              <a:gd name="T95" fmla="*/ 368 h 437"/>
              <a:gd name="T96" fmla="*/ 252 w 379"/>
              <a:gd name="T97" fmla="*/ 400 h 437"/>
              <a:gd name="T98" fmla="*/ 239 w 379"/>
              <a:gd name="T99" fmla="*/ 429 h 437"/>
              <a:gd name="T100" fmla="*/ 221 w 379"/>
              <a:gd name="T101" fmla="*/ 421 h 437"/>
              <a:gd name="T102" fmla="*/ 202 w 379"/>
              <a:gd name="T103" fmla="*/ 417 h 437"/>
              <a:gd name="T104" fmla="*/ 177 w 379"/>
              <a:gd name="T105" fmla="*/ 400 h 437"/>
              <a:gd name="T106" fmla="*/ 153 w 379"/>
              <a:gd name="T107" fmla="*/ 356 h 437"/>
              <a:gd name="T108" fmla="*/ 137 w 379"/>
              <a:gd name="T109" fmla="*/ 304 h 437"/>
              <a:gd name="T110" fmla="*/ 114 w 379"/>
              <a:gd name="T111" fmla="*/ 263 h 437"/>
              <a:gd name="T112" fmla="*/ 97 w 379"/>
              <a:gd name="T113" fmla="*/ 259 h 437"/>
              <a:gd name="T114" fmla="*/ 105 w 379"/>
              <a:gd name="T115" fmla="*/ 381 h 437"/>
              <a:gd name="T116" fmla="*/ 93 w 379"/>
              <a:gd name="T117" fmla="*/ 404 h 437"/>
              <a:gd name="T118" fmla="*/ 57 w 379"/>
              <a:gd name="T119" fmla="*/ 426 h 437"/>
              <a:gd name="T120" fmla="*/ 59 w 379"/>
              <a:gd name="T121" fmla="*/ 437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87" name="Freeform 339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>
              <a:gd name="T0" fmla="*/ 11 w 578"/>
              <a:gd name="T1" fmla="*/ 50 h 184"/>
              <a:gd name="T2" fmla="*/ 24 w 578"/>
              <a:gd name="T3" fmla="*/ 32 h 184"/>
              <a:gd name="T4" fmla="*/ 41 w 578"/>
              <a:gd name="T5" fmla="*/ 7 h 184"/>
              <a:gd name="T6" fmla="*/ 54 w 578"/>
              <a:gd name="T7" fmla="*/ 0 h 184"/>
              <a:gd name="T8" fmla="*/ 79 w 578"/>
              <a:gd name="T9" fmla="*/ 2 h 184"/>
              <a:gd name="T10" fmla="*/ 95 w 578"/>
              <a:gd name="T11" fmla="*/ 2 h 184"/>
              <a:gd name="T12" fmla="*/ 101 w 578"/>
              <a:gd name="T13" fmla="*/ 5 h 184"/>
              <a:gd name="T14" fmla="*/ 115 w 578"/>
              <a:gd name="T15" fmla="*/ 15 h 184"/>
              <a:gd name="T16" fmla="*/ 147 w 578"/>
              <a:gd name="T17" fmla="*/ 27 h 184"/>
              <a:gd name="T18" fmla="*/ 168 w 578"/>
              <a:gd name="T19" fmla="*/ 37 h 184"/>
              <a:gd name="T20" fmla="*/ 178 w 578"/>
              <a:gd name="T21" fmla="*/ 53 h 184"/>
              <a:gd name="T22" fmla="*/ 192 w 578"/>
              <a:gd name="T23" fmla="*/ 61 h 184"/>
              <a:gd name="T24" fmla="*/ 231 w 578"/>
              <a:gd name="T25" fmla="*/ 60 h 184"/>
              <a:gd name="T26" fmla="*/ 277 w 578"/>
              <a:gd name="T27" fmla="*/ 51 h 184"/>
              <a:gd name="T28" fmla="*/ 299 w 578"/>
              <a:gd name="T29" fmla="*/ 39 h 184"/>
              <a:gd name="T30" fmla="*/ 314 w 578"/>
              <a:gd name="T31" fmla="*/ 34 h 184"/>
              <a:gd name="T32" fmla="*/ 327 w 578"/>
              <a:gd name="T33" fmla="*/ 35 h 184"/>
              <a:gd name="T34" fmla="*/ 339 w 578"/>
              <a:gd name="T35" fmla="*/ 31 h 184"/>
              <a:gd name="T36" fmla="*/ 366 w 578"/>
              <a:gd name="T37" fmla="*/ 34 h 184"/>
              <a:gd name="T38" fmla="*/ 399 w 578"/>
              <a:gd name="T39" fmla="*/ 59 h 184"/>
              <a:gd name="T40" fmla="*/ 428 w 578"/>
              <a:gd name="T41" fmla="*/ 89 h 184"/>
              <a:gd name="T42" fmla="*/ 456 w 578"/>
              <a:gd name="T43" fmla="*/ 105 h 184"/>
              <a:gd name="T44" fmla="*/ 479 w 578"/>
              <a:gd name="T45" fmla="*/ 107 h 184"/>
              <a:gd name="T46" fmla="*/ 493 w 578"/>
              <a:gd name="T47" fmla="*/ 108 h 184"/>
              <a:gd name="T48" fmla="*/ 505 w 578"/>
              <a:gd name="T49" fmla="*/ 125 h 184"/>
              <a:gd name="T50" fmla="*/ 522 w 578"/>
              <a:gd name="T51" fmla="*/ 140 h 184"/>
              <a:gd name="T52" fmla="*/ 534 w 578"/>
              <a:gd name="T53" fmla="*/ 139 h 184"/>
              <a:gd name="T54" fmla="*/ 546 w 578"/>
              <a:gd name="T55" fmla="*/ 128 h 184"/>
              <a:gd name="T56" fmla="*/ 558 w 578"/>
              <a:gd name="T57" fmla="*/ 134 h 184"/>
              <a:gd name="T58" fmla="*/ 571 w 578"/>
              <a:gd name="T59" fmla="*/ 145 h 184"/>
              <a:gd name="T60" fmla="*/ 578 w 578"/>
              <a:gd name="T61" fmla="*/ 160 h 184"/>
              <a:gd name="T62" fmla="*/ 575 w 578"/>
              <a:gd name="T63" fmla="*/ 173 h 184"/>
              <a:gd name="T64" fmla="*/ 567 w 578"/>
              <a:gd name="T65" fmla="*/ 182 h 184"/>
              <a:gd name="T66" fmla="*/ 551 w 578"/>
              <a:gd name="T67" fmla="*/ 178 h 184"/>
              <a:gd name="T68" fmla="*/ 526 w 578"/>
              <a:gd name="T69" fmla="*/ 170 h 184"/>
              <a:gd name="T70" fmla="*/ 491 w 578"/>
              <a:gd name="T71" fmla="*/ 172 h 184"/>
              <a:gd name="T72" fmla="*/ 462 w 578"/>
              <a:gd name="T73" fmla="*/ 170 h 184"/>
              <a:gd name="T74" fmla="*/ 451 w 578"/>
              <a:gd name="T75" fmla="*/ 160 h 184"/>
              <a:gd name="T76" fmla="*/ 438 w 578"/>
              <a:gd name="T77" fmla="*/ 154 h 184"/>
              <a:gd name="T78" fmla="*/ 426 w 578"/>
              <a:gd name="T79" fmla="*/ 160 h 184"/>
              <a:gd name="T80" fmla="*/ 416 w 578"/>
              <a:gd name="T81" fmla="*/ 170 h 184"/>
              <a:gd name="T82" fmla="*/ 398 w 578"/>
              <a:gd name="T83" fmla="*/ 171 h 184"/>
              <a:gd name="T84" fmla="*/ 328 w 578"/>
              <a:gd name="T85" fmla="*/ 153 h 184"/>
              <a:gd name="T86" fmla="*/ 277 w 578"/>
              <a:gd name="T87" fmla="*/ 132 h 184"/>
              <a:gd name="T88" fmla="*/ 266 w 578"/>
              <a:gd name="T89" fmla="*/ 123 h 184"/>
              <a:gd name="T90" fmla="*/ 230 w 578"/>
              <a:gd name="T91" fmla="*/ 119 h 184"/>
              <a:gd name="T92" fmla="*/ 201 w 578"/>
              <a:gd name="T93" fmla="*/ 113 h 184"/>
              <a:gd name="T94" fmla="*/ 168 w 578"/>
              <a:gd name="T95" fmla="*/ 111 h 184"/>
              <a:gd name="T96" fmla="*/ 146 w 578"/>
              <a:gd name="T97" fmla="*/ 111 h 184"/>
              <a:gd name="T98" fmla="*/ 124 w 578"/>
              <a:gd name="T99" fmla="*/ 105 h 184"/>
              <a:gd name="T100" fmla="*/ 120 w 578"/>
              <a:gd name="T101" fmla="*/ 99 h 184"/>
              <a:gd name="T102" fmla="*/ 69 w 578"/>
              <a:gd name="T103" fmla="*/ 97 h 184"/>
              <a:gd name="T104" fmla="*/ 46 w 578"/>
              <a:gd name="T105" fmla="*/ 88 h 184"/>
              <a:gd name="T106" fmla="*/ 0 w 578"/>
              <a:gd name="T107" fmla="*/ 55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88" name="Freeform 340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>
              <a:gd name="T0" fmla="*/ 482 w 491"/>
              <a:gd name="T1" fmla="*/ 479 h 481"/>
              <a:gd name="T2" fmla="*/ 457 w 491"/>
              <a:gd name="T3" fmla="*/ 465 h 481"/>
              <a:gd name="T4" fmla="*/ 422 w 491"/>
              <a:gd name="T5" fmla="*/ 434 h 481"/>
              <a:gd name="T6" fmla="*/ 412 w 491"/>
              <a:gd name="T7" fmla="*/ 417 h 481"/>
              <a:gd name="T8" fmla="*/ 376 w 491"/>
              <a:gd name="T9" fmla="*/ 410 h 481"/>
              <a:gd name="T10" fmla="*/ 360 w 491"/>
              <a:gd name="T11" fmla="*/ 406 h 481"/>
              <a:gd name="T12" fmla="*/ 350 w 491"/>
              <a:gd name="T13" fmla="*/ 396 h 481"/>
              <a:gd name="T14" fmla="*/ 346 w 491"/>
              <a:gd name="T15" fmla="*/ 374 h 481"/>
              <a:gd name="T16" fmla="*/ 342 w 491"/>
              <a:gd name="T17" fmla="*/ 332 h 481"/>
              <a:gd name="T18" fmla="*/ 327 w 491"/>
              <a:gd name="T19" fmla="*/ 303 h 481"/>
              <a:gd name="T20" fmla="*/ 319 w 491"/>
              <a:gd name="T21" fmla="*/ 277 h 481"/>
              <a:gd name="T22" fmla="*/ 314 w 491"/>
              <a:gd name="T23" fmla="*/ 244 h 481"/>
              <a:gd name="T24" fmla="*/ 292 w 491"/>
              <a:gd name="T25" fmla="*/ 223 h 481"/>
              <a:gd name="T26" fmla="*/ 260 w 491"/>
              <a:gd name="T27" fmla="*/ 205 h 481"/>
              <a:gd name="T28" fmla="*/ 221 w 491"/>
              <a:gd name="T29" fmla="*/ 190 h 481"/>
              <a:gd name="T30" fmla="*/ 178 w 491"/>
              <a:gd name="T31" fmla="*/ 181 h 481"/>
              <a:gd name="T32" fmla="*/ 133 w 491"/>
              <a:gd name="T33" fmla="*/ 178 h 481"/>
              <a:gd name="T34" fmla="*/ 133 w 491"/>
              <a:gd name="T35" fmla="*/ 156 h 481"/>
              <a:gd name="T36" fmla="*/ 110 w 491"/>
              <a:gd name="T37" fmla="*/ 145 h 481"/>
              <a:gd name="T38" fmla="*/ 85 w 491"/>
              <a:gd name="T39" fmla="*/ 130 h 481"/>
              <a:gd name="T40" fmla="*/ 66 w 491"/>
              <a:gd name="T41" fmla="*/ 111 h 481"/>
              <a:gd name="T42" fmla="*/ 73 w 491"/>
              <a:gd name="T43" fmla="*/ 133 h 481"/>
              <a:gd name="T44" fmla="*/ 54 w 491"/>
              <a:gd name="T45" fmla="*/ 147 h 481"/>
              <a:gd name="T46" fmla="*/ 40 w 491"/>
              <a:gd name="T47" fmla="*/ 178 h 481"/>
              <a:gd name="T48" fmla="*/ 24 w 491"/>
              <a:gd name="T49" fmla="*/ 220 h 481"/>
              <a:gd name="T50" fmla="*/ 13 w 491"/>
              <a:gd name="T51" fmla="*/ 265 h 481"/>
              <a:gd name="T52" fmla="*/ 14 w 491"/>
              <a:gd name="T53" fmla="*/ 237 h 481"/>
              <a:gd name="T54" fmla="*/ 23 w 491"/>
              <a:gd name="T55" fmla="*/ 209 h 481"/>
              <a:gd name="T56" fmla="*/ 32 w 491"/>
              <a:gd name="T57" fmla="*/ 181 h 481"/>
              <a:gd name="T58" fmla="*/ 30 w 491"/>
              <a:gd name="T59" fmla="*/ 143 h 481"/>
              <a:gd name="T60" fmla="*/ 17 w 491"/>
              <a:gd name="T61" fmla="*/ 111 h 481"/>
              <a:gd name="T62" fmla="*/ 0 w 491"/>
              <a:gd name="T63" fmla="*/ 73 h 481"/>
              <a:gd name="T64" fmla="*/ 34 w 491"/>
              <a:gd name="T65" fmla="*/ 59 h 481"/>
              <a:gd name="T66" fmla="*/ 59 w 491"/>
              <a:gd name="T67" fmla="*/ 55 h 481"/>
              <a:gd name="T68" fmla="*/ 84 w 491"/>
              <a:gd name="T69" fmla="*/ 58 h 481"/>
              <a:gd name="T70" fmla="*/ 102 w 491"/>
              <a:gd name="T71" fmla="*/ 66 h 481"/>
              <a:gd name="T72" fmla="*/ 121 w 491"/>
              <a:gd name="T73" fmla="*/ 82 h 481"/>
              <a:gd name="T74" fmla="*/ 140 w 491"/>
              <a:gd name="T75" fmla="*/ 111 h 481"/>
              <a:gd name="T76" fmla="*/ 183 w 491"/>
              <a:gd name="T77" fmla="*/ 103 h 481"/>
              <a:gd name="T78" fmla="*/ 196 w 491"/>
              <a:gd name="T79" fmla="*/ 96 h 481"/>
              <a:gd name="T80" fmla="*/ 200 w 491"/>
              <a:gd name="T81" fmla="*/ 90 h 481"/>
              <a:gd name="T82" fmla="*/ 207 w 491"/>
              <a:gd name="T83" fmla="*/ 73 h 481"/>
              <a:gd name="T84" fmla="*/ 232 w 491"/>
              <a:gd name="T85" fmla="*/ 54 h 481"/>
              <a:gd name="T86" fmla="*/ 254 w 491"/>
              <a:gd name="T87" fmla="*/ 49 h 481"/>
              <a:gd name="T88" fmla="*/ 263 w 491"/>
              <a:gd name="T89" fmla="*/ 30 h 481"/>
              <a:gd name="T90" fmla="*/ 280 w 491"/>
              <a:gd name="T91" fmla="*/ 9 h 481"/>
              <a:gd name="T92" fmla="*/ 300 w 491"/>
              <a:gd name="T93" fmla="*/ 1 h 481"/>
              <a:gd name="T94" fmla="*/ 323 w 491"/>
              <a:gd name="T95" fmla="*/ 0 h 481"/>
              <a:gd name="T96" fmla="*/ 351 w 491"/>
              <a:gd name="T97" fmla="*/ 8 h 481"/>
              <a:gd name="T98" fmla="*/ 399 w 491"/>
              <a:gd name="T99" fmla="*/ 38 h 481"/>
              <a:gd name="T100" fmla="*/ 428 w 491"/>
              <a:gd name="T101" fmla="*/ 53 h 481"/>
              <a:gd name="T102" fmla="*/ 459 w 491"/>
              <a:gd name="T103" fmla="*/ 60 h 481"/>
              <a:gd name="T104" fmla="*/ 491 w 491"/>
              <a:gd name="T105" fmla="*/ 67 h 481"/>
              <a:gd name="T106" fmla="*/ 491 w 491"/>
              <a:gd name="T107" fmla="*/ 326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89" name="Freeform 341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>
              <a:gd name="T0" fmla="*/ 0 w 133"/>
              <a:gd name="T1" fmla="*/ 19 h 117"/>
              <a:gd name="T2" fmla="*/ 72 w 133"/>
              <a:gd name="T3" fmla="*/ 0 h 117"/>
              <a:gd name="T4" fmla="*/ 81 w 133"/>
              <a:gd name="T5" fmla="*/ 6 h 117"/>
              <a:gd name="T6" fmla="*/ 91 w 133"/>
              <a:gd name="T7" fmla="*/ 14 h 117"/>
              <a:gd name="T8" fmla="*/ 101 w 133"/>
              <a:gd name="T9" fmla="*/ 25 h 117"/>
              <a:gd name="T10" fmla="*/ 109 w 133"/>
              <a:gd name="T11" fmla="*/ 37 h 117"/>
              <a:gd name="T12" fmla="*/ 118 w 133"/>
              <a:gd name="T13" fmla="*/ 49 h 117"/>
              <a:gd name="T14" fmla="*/ 126 w 133"/>
              <a:gd name="T15" fmla="*/ 62 h 117"/>
              <a:gd name="T16" fmla="*/ 128 w 133"/>
              <a:gd name="T17" fmla="*/ 68 h 117"/>
              <a:gd name="T18" fmla="*/ 130 w 133"/>
              <a:gd name="T19" fmla="*/ 74 h 117"/>
              <a:gd name="T20" fmla="*/ 131 w 133"/>
              <a:gd name="T21" fmla="*/ 80 h 117"/>
              <a:gd name="T22" fmla="*/ 133 w 133"/>
              <a:gd name="T23" fmla="*/ 86 h 117"/>
              <a:gd name="T24" fmla="*/ 131 w 133"/>
              <a:gd name="T25" fmla="*/ 92 h 117"/>
              <a:gd name="T26" fmla="*/ 128 w 133"/>
              <a:gd name="T27" fmla="*/ 97 h 117"/>
              <a:gd name="T28" fmla="*/ 124 w 133"/>
              <a:gd name="T29" fmla="*/ 102 h 117"/>
              <a:gd name="T30" fmla="*/ 118 w 133"/>
              <a:gd name="T31" fmla="*/ 107 h 117"/>
              <a:gd name="T32" fmla="*/ 113 w 133"/>
              <a:gd name="T33" fmla="*/ 111 h 117"/>
              <a:gd name="T34" fmla="*/ 107 w 133"/>
              <a:gd name="T35" fmla="*/ 114 h 117"/>
              <a:gd name="T36" fmla="*/ 103 w 133"/>
              <a:gd name="T37" fmla="*/ 117 h 117"/>
              <a:gd name="T38" fmla="*/ 100 w 133"/>
              <a:gd name="T39" fmla="*/ 117 h 117"/>
              <a:gd name="T40" fmla="*/ 72 w 133"/>
              <a:gd name="T41" fmla="*/ 95 h 117"/>
              <a:gd name="T42" fmla="*/ 45 w 133"/>
              <a:gd name="T43" fmla="*/ 70 h 117"/>
              <a:gd name="T44" fmla="*/ 32 w 133"/>
              <a:gd name="T45" fmla="*/ 58 h 117"/>
              <a:gd name="T46" fmla="*/ 18 w 133"/>
              <a:gd name="T47" fmla="*/ 46 h 117"/>
              <a:gd name="T48" fmla="*/ 8 w 133"/>
              <a:gd name="T49" fmla="*/ 33 h 117"/>
              <a:gd name="T50" fmla="*/ 0 w 133"/>
              <a:gd name="T51" fmla="*/ 19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91" name="Freeform 343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>
              <a:gd name="T0" fmla="*/ 312 w 338"/>
              <a:gd name="T1" fmla="*/ 0 h 141"/>
              <a:gd name="T2" fmla="*/ 186 w 338"/>
              <a:gd name="T3" fmla="*/ 0 h 141"/>
              <a:gd name="T4" fmla="*/ 168 w 338"/>
              <a:gd name="T5" fmla="*/ 8 h 141"/>
              <a:gd name="T6" fmla="*/ 144 w 338"/>
              <a:gd name="T7" fmla="*/ 21 h 141"/>
              <a:gd name="T8" fmla="*/ 132 w 338"/>
              <a:gd name="T9" fmla="*/ 27 h 141"/>
              <a:gd name="T10" fmla="*/ 119 w 338"/>
              <a:gd name="T11" fmla="*/ 32 h 141"/>
              <a:gd name="T12" fmla="*/ 112 w 338"/>
              <a:gd name="T13" fmla="*/ 34 h 141"/>
              <a:gd name="T14" fmla="*/ 105 w 338"/>
              <a:gd name="T15" fmla="*/ 35 h 141"/>
              <a:gd name="T16" fmla="*/ 99 w 338"/>
              <a:gd name="T17" fmla="*/ 36 h 141"/>
              <a:gd name="T18" fmla="*/ 93 w 338"/>
              <a:gd name="T19" fmla="*/ 37 h 141"/>
              <a:gd name="T20" fmla="*/ 88 w 338"/>
              <a:gd name="T21" fmla="*/ 36 h 141"/>
              <a:gd name="T22" fmla="*/ 84 w 338"/>
              <a:gd name="T23" fmla="*/ 35 h 141"/>
              <a:gd name="T24" fmla="*/ 78 w 338"/>
              <a:gd name="T25" fmla="*/ 32 h 141"/>
              <a:gd name="T26" fmla="*/ 74 w 338"/>
              <a:gd name="T27" fmla="*/ 30 h 141"/>
              <a:gd name="T28" fmla="*/ 66 w 338"/>
              <a:gd name="T29" fmla="*/ 24 h 141"/>
              <a:gd name="T30" fmla="*/ 59 w 338"/>
              <a:gd name="T31" fmla="*/ 18 h 141"/>
              <a:gd name="T32" fmla="*/ 49 w 338"/>
              <a:gd name="T33" fmla="*/ 34 h 141"/>
              <a:gd name="T34" fmla="*/ 37 w 338"/>
              <a:gd name="T35" fmla="*/ 51 h 141"/>
              <a:gd name="T36" fmla="*/ 30 w 338"/>
              <a:gd name="T37" fmla="*/ 60 h 141"/>
              <a:gd name="T38" fmla="*/ 21 w 338"/>
              <a:gd name="T39" fmla="*/ 68 h 141"/>
              <a:gd name="T40" fmla="*/ 11 w 338"/>
              <a:gd name="T41" fmla="*/ 75 h 141"/>
              <a:gd name="T42" fmla="*/ 0 w 338"/>
              <a:gd name="T43" fmla="*/ 80 h 141"/>
              <a:gd name="T44" fmla="*/ 12 w 338"/>
              <a:gd name="T45" fmla="*/ 90 h 141"/>
              <a:gd name="T46" fmla="*/ 23 w 338"/>
              <a:gd name="T47" fmla="*/ 100 h 141"/>
              <a:gd name="T48" fmla="*/ 33 w 338"/>
              <a:gd name="T49" fmla="*/ 108 h 141"/>
              <a:gd name="T50" fmla="*/ 44 w 338"/>
              <a:gd name="T51" fmla="*/ 116 h 141"/>
              <a:gd name="T52" fmla="*/ 55 w 338"/>
              <a:gd name="T53" fmla="*/ 122 h 141"/>
              <a:gd name="T54" fmla="*/ 66 w 338"/>
              <a:gd name="T55" fmla="*/ 129 h 141"/>
              <a:gd name="T56" fmla="*/ 79 w 338"/>
              <a:gd name="T57" fmla="*/ 135 h 141"/>
              <a:gd name="T58" fmla="*/ 93 w 338"/>
              <a:gd name="T59" fmla="*/ 141 h 141"/>
              <a:gd name="T60" fmla="*/ 259 w 338"/>
              <a:gd name="T61" fmla="*/ 141 h 141"/>
              <a:gd name="T62" fmla="*/ 269 w 338"/>
              <a:gd name="T63" fmla="*/ 124 h 141"/>
              <a:gd name="T64" fmla="*/ 281 w 338"/>
              <a:gd name="T65" fmla="*/ 107 h 141"/>
              <a:gd name="T66" fmla="*/ 292 w 338"/>
              <a:gd name="T67" fmla="*/ 92 h 141"/>
              <a:gd name="T68" fmla="*/ 304 w 338"/>
              <a:gd name="T69" fmla="*/ 78 h 141"/>
              <a:gd name="T70" fmla="*/ 315 w 338"/>
              <a:gd name="T71" fmla="*/ 64 h 141"/>
              <a:gd name="T72" fmla="*/ 324 w 338"/>
              <a:gd name="T73" fmla="*/ 48 h 141"/>
              <a:gd name="T74" fmla="*/ 333 w 338"/>
              <a:gd name="T75" fmla="*/ 34 h 141"/>
              <a:gd name="T76" fmla="*/ 338 w 338"/>
              <a:gd name="T77" fmla="*/ 18 h 141"/>
              <a:gd name="T78" fmla="*/ 312 w 338"/>
              <a:gd name="T7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92" name="Freeform 344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>
              <a:gd name="T0" fmla="*/ 259 w 259"/>
              <a:gd name="T1" fmla="*/ 129 h 129"/>
              <a:gd name="T2" fmla="*/ 255 w 259"/>
              <a:gd name="T3" fmla="*/ 102 h 129"/>
              <a:gd name="T4" fmla="*/ 252 w 259"/>
              <a:gd name="T5" fmla="*/ 80 h 129"/>
              <a:gd name="T6" fmla="*/ 252 w 259"/>
              <a:gd name="T7" fmla="*/ 63 h 129"/>
              <a:gd name="T8" fmla="*/ 253 w 259"/>
              <a:gd name="T9" fmla="*/ 50 h 129"/>
              <a:gd name="T10" fmla="*/ 257 w 259"/>
              <a:gd name="T11" fmla="*/ 29 h 129"/>
              <a:gd name="T12" fmla="*/ 259 w 259"/>
              <a:gd name="T13" fmla="*/ 12 h 129"/>
              <a:gd name="T14" fmla="*/ 258 w 259"/>
              <a:gd name="T15" fmla="*/ 14 h 129"/>
              <a:gd name="T16" fmla="*/ 256 w 259"/>
              <a:gd name="T17" fmla="*/ 16 h 129"/>
              <a:gd name="T18" fmla="*/ 253 w 259"/>
              <a:gd name="T19" fmla="*/ 17 h 129"/>
              <a:gd name="T20" fmla="*/ 249 w 259"/>
              <a:gd name="T21" fmla="*/ 18 h 129"/>
              <a:gd name="T22" fmla="*/ 239 w 259"/>
              <a:gd name="T23" fmla="*/ 19 h 129"/>
              <a:gd name="T24" fmla="*/ 228 w 259"/>
              <a:gd name="T25" fmla="*/ 19 h 129"/>
              <a:gd name="T26" fmla="*/ 205 w 259"/>
              <a:gd name="T27" fmla="*/ 19 h 129"/>
              <a:gd name="T28" fmla="*/ 192 w 259"/>
              <a:gd name="T29" fmla="*/ 18 h 129"/>
              <a:gd name="T30" fmla="*/ 181 w 259"/>
              <a:gd name="T31" fmla="*/ 17 h 129"/>
              <a:gd name="T32" fmla="*/ 172 w 259"/>
              <a:gd name="T33" fmla="*/ 15 h 129"/>
              <a:gd name="T34" fmla="*/ 163 w 259"/>
              <a:gd name="T35" fmla="*/ 12 h 129"/>
              <a:gd name="T36" fmla="*/ 156 w 259"/>
              <a:gd name="T37" fmla="*/ 9 h 129"/>
              <a:gd name="T38" fmla="*/ 146 w 259"/>
              <a:gd name="T39" fmla="*/ 6 h 129"/>
              <a:gd name="T40" fmla="*/ 134 w 259"/>
              <a:gd name="T41" fmla="*/ 3 h 129"/>
              <a:gd name="T42" fmla="*/ 118 w 259"/>
              <a:gd name="T43" fmla="*/ 1 h 129"/>
              <a:gd name="T44" fmla="*/ 99 w 259"/>
              <a:gd name="T45" fmla="*/ 0 h 129"/>
              <a:gd name="T46" fmla="*/ 83 w 259"/>
              <a:gd name="T47" fmla="*/ 0 h 129"/>
              <a:gd name="T48" fmla="*/ 67 w 259"/>
              <a:gd name="T49" fmla="*/ 0 h 129"/>
              <a:gd name="T50" fmla="*/ 50 w 259"/>
              <a:gd name="T51" fmla="*/ 0 h 129"/>
              <a:gd name="T52" fmla="*/ 34 w 259"/>
              <a:gd name="T53" fmla="*/ 2 h 129"/>
              <a:gd name="T54" fmla="*/ 27 w 259"/>
              <a:gd name="T55" fmla="*/ 4 h 129"/>
              <a:gd name="T56" fmla="*/ 21 w 259"/>
              <a:gd name="T57" fmla="*/ 6 h 129"/>
              <a:gd name="T58" fmla="*/ 14 w 259"/>
              <a:gd name="T59" fmla="*/ 9 h 129"/>
              <a:gd name="T60" fmla="*/ 10 w 259"/>
              <a:gd name="T61" fmla="*/ 13 h 129"/>
              <a:gd name="T62" fmla="*/ 5 w 259"/>
              <a:gd name="T63" fmla="*/ 17 h 129"/>
              <a:gd name="T64" fmla="*/ 2 w 259"/>
              <a:gd name="T65" fmla="*/ 22 h 129"/>
              <a:gd name="T66" fmla="*/ 0 w 259"/>
              <a:gd name="T67" fmla="*/ 29 h 129"/>
              <a:gd name="T68" fmla="*/ 0 w 259"/>
              <a:gd name="T69" fmla="*/ 36 h 129"/>
              <a:gd name="T70" fmla="*/ 0 w 259"/>
              <a:gd name="T71" fmla="*/ 48 h 129"/>
              <a:gd name="T72" fmla="*/ 3 w 259"/>
              <a:gd name="T73" fmla="*/ 58 h 129"/>
              <a:gd name="T74" fmla="*/ 6 w 259"/>
              <a:gd name="T75" fmla="*/ 65 h 129"/>
              <a:gd name="T76" fmla="*/ 12 w 259"/>
              <a:gd name="T77" fmla="*/ 71 h 129"/>
              <a:gd name="T78" fmla="*/ 17 w 259"/>
              <a:gd name="T79" fmla="*/ 76 h 129"/>
              <a:gd name="T80" fmla="*/ 24 w 259"/>
              <a:gd name="T81" fmla="*/ 80 h 129"/>
              <a:gd name="T82" fmla="*/ 31 w 259"/>
              <a:gd name="T83" fmla="*/ 83 h 129"/>
              <a:gd name="T84" fmla="*/ 37 w 259"/>
              <a:gd name="T85" fmla="*/ 85 h 129"/>
              <a:gd name="T86" fmla="*/ 50 w 259"/>
              <a:gd name="T87" fmla="*/ 88 h 129"/>
              <a:gd name="T88" fmla="*/ 61 w 259"/>
              <a:gd name="T89" fmla="*/ 92 h 129"/>
              <a:gd name="T90" fmla="*/ 65 w 259"/>
              <a:gd name="T91" fmla="*/ 95 h 129"/>
              <a:gd name="T92" fmla="*/ 67 w 259"/>
              <a:gd name="T93" fmla="*/ 99 h 129"/>
              <a:gd name="T94" fmla="*/ 67 w 259"/>
              <a:gd name="T95" fmla="*/ 105 h 129"/>
              <a:gd name="T96" fmla="*/ 66 w 259"/>
              <a:gd name="T97" fmla="*/ 111 h 129"/>
              <a:gd name="T98" fmla="*/ 81 w 259"/>
              <a:gd name="T99" fmla="*/ 110 h 129"/>
              <a:gd name="T100" fmla="*/ 91 w 259"/>
              <a:gd name="T101" fmla="*/ 108 h 129"/>
              <a:gd name="T102" fmla="*/ 98 w 259"/>
              <a:gd name="T103" fmla="*/ 106 h 129"/>
              <a:gd name="T104" fmla="*/ 105 w 259"/>
              <a:gd name="T105" fmla="*/ 105 h 129"/>
              <a:gd name="T106" fmla="*/ 120 w 259"/>
              <a:gd name="T107" fmla="*/ 106 h 129"/>
              <a:gd name="T108" fmla="*/ 140 w 259"/>
              <a:gd name="T109" fmla="*/ 108 h 129"/>
              <a:gd name="T110" fmla="*/ 166 w 259"/>
              <a:gd name="T111" fmla="*/ 112 h 129"/>
              <a:gd name="T112" fmla="*/ 192 w 259"/>
              <a:gd name="T113" fmla="*/ 117 h 129"/>
              <a:gd name="T114" fmla="*/ 238 w 259"/>
              <a:gd name="T115" fmla="*/ 125 h 129"/>
              <a:gd name="T116" fmla="*/ 259 w 259"/>
              <a:gd name="T117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93" name="Freeform 345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>
              <a:gd name="T0" fmla="*/ 418 w 425"/>
              <a:gd name="T1" fmla="*/ 170 h 272"/>
              <a:gd name="T2" fmla="*/ 398 w 425"/>
              <a:gd name="T3" fmla="*/ 188 h 272"/>
              <a:gd name="T4" fmla="*/ 383 w 425"/>
              <a:gd name="T5" fmla="*/ 206 h 272"/>
              <a:gd name="T6" fmla="*/ 384 w 425"/>
              <a:gd name="T7" fmla="*/ 221 h 272"/>
              <a:gd name="T8" fmla="*/ 389 w 425"/>
              <a:gd name="T9" fmla="*/ 237 h 272"/>
              <a:gd name="T10" fmla="*/ 375 w 425"/>
              <a:gd name="T11" fmla="*/ 244 h 272"/>
              <a:gd name="T12" fmla="*/ 347 w 425"/>
              <a:gd name="T13" fmla="*/ 238 h 272"/>
              <a:gd name="T14" fmla="*/ 324 w 425"/>
              <a:gd name="T15" fmla="*/ 235 h 272"/>
              <a:gd name="T16" fmla="*/ 295 w 425"/>
              <a:gd name="T17" fmla="*/ 235 h 272"/>
              <a:gd name="T18" fmla="*/ 263 w 425"/>
              <a:gd name="T19" fmla="*/ 243 h 272"/>
              <a:gd name="T20" fmla="*/ 232 w 425"/>
              <a:gd name="T21" fmla="*/ 254 h 272"/>
              <a:gd name="T22" fmla="*/ 197 w 425"/>
              <a:gd name="T23" fmla="*/ 267 h 272"/>
              <a:gd name="T24" fmla="*/ 100 w 425"/>
              <a:gd name="T25" fmla="*/ 240 h 272"/>
              <a:gd name="T26" fmla="*/ 85 w 425"/>
              <a:gd name="T27" fmla="*/ 226 h 272"/>
              <a:gd name="T28" fmla="*/ 70 w 425"/>
              <a:gd name="T29" fmla="*/ 214 h 272"/>
              <a:gd name="T30" fmla="*/ 37 w 425"/>
              <a:gd name="T31" fmla="*/ 192 h 272"/>
              <a:gd name="T32" fmla="*/ 22 w 425"/>
              <a:gd name="T33" fmla="*/ 180 h 272"/>
              <a:gd name="T34" fmla="*/ 11 w 425"/>
              <a:gd name="T35" fmla="*/ 167 h 272"/>
              <a:gd name="T36" fmla="*/ 2 w 425"/>
              <a:gd name="T37" fmla="*/ 150 h 272"/>
              <a:gd name="T38" fmla="*/ 0 w 425"/>
              <a:gd name="T39" fmla="*/ 129 h 272"/>
              <a:gd name="T40" fmla="*/ 50 w 425"/>
              <a:gd name="T41" fmla="*/ 66 h 272"/>
              <a:gd name="T42" fmla="*/ 71 w 425"/>
              <a:gd name="T43" fmla="*/ 36 h 272"/>
              <a:gd name="T44" fmla="*/ 80 w 425"/>
              <a:gd name="T45" fmla="*/ 22 h 272"/>
              <a:gd name="T46" fmla="*/ 85 w 425"/>
              <a:gd name="T47" fmla="*/ 6 h 272"/>
              <a:gd name="T48" fmla="*/ 123 w 425"/>
              <a:gd name="T49" fmla="*/ 10 h 272"/>
              <a:gd name="T50" fmla="*/ 153 w 425"/>
              <a:gd name="T51" fmla="*/ 18 h 272"/>
              <a:gd name="T52" fmla="*/ 180 w 425"/>
              <a:gd name="T53" fmla="*/ 27 h 272"/>
              <a:gd name="T54" fmla="*/ 205 w 425"/>
              <a:gd name="T55" fmla="*/ 31 h 272"/>
              <a:gd name="T56" fmla="*/ 214 w 425"/>
              <a:gd name="T57" fmla="*/ 29 h 272"/>
              <a:gd name="T58" fmla="*/ 221 w 425"/>
              <a:gd name="T59" fmla="*/ 26 h 272"/>
              <a:gd name="T60" fmla="*/ 232 w 425"/>
              <a:gd name="T61" fmla="*/ 15 h 272"/>
              <a:gd name="T62" fmla="*/ 242 w 425"/>
              <a:gd name="T63" fmla="*/ 5 h 272"/>
              <a:gd name="T64" fmla="*/ 250 w 425"/>
              <a:gd name="T65" fmla="*/ 2 h 272"/>
              <a:gd name="T66" fmla="*/ 259 w 425"/>
              <a:gd name="T67" fmla="*/ 0 h 272"/>
              <a:gd name="T68" fmla="*/ 275 w 425"/>
              <a:gd name="T69" fmla="*/ 2 h 272"/>
              <a:gd name="T70" fmla="*/ 289 w 425"/>
              <a:gd name="T71" fmla="*/ 7 h 272"/>
              <a:gd name="T72" fmla="*/ 302 w 425"/>
              <a:gd name="T73" fmla="*/ 15 h 272"/>
              <a:gd name="T74" fmla="*/ 310 w 425"/>
              <a:gd name="T75" fmla="*/ 26 h 272"/>
              <a:gd name="T76" fmla="*/ 325 w 425"/>
              <a:gd name="T77" fmla="*/ 53 h 272"/>
              <a:gd name="T78" fmla="*/ 337 w 425"/>
              <a:gd name="T79" fmla="*/ 82 h 272"/>
              <a:gd name="T80" fmla="*/ 349 w 425"/>
              <a:gd name="T81" fmla="*/ 113 h 272"/>
              <a:gd name="T82" fmla="*/ 356 w 425"/>
              <a:gd name="T83" fmla="*/ 126 h 272"/>
              <a:gd name="T84" fmla="*/ 365 w 425"/>
              <a:gd name="T85" fmla="*/ 138 h 272"/>
              <a:gd name="T86" fmla="*/ 376 w 425"/>
              <a:gd name="T87" fmla="*/ 147 h 272"/>
              <a:gd name="T88" fmla="*/ 389 w 425"/>
              <a:gd name="T89" fmla="*/ 156 h 272"/>
              <a:gd name="T90" fmla="*/ 405 w 425"/>
              <a:gd name="T91" fmla="*/ 160 h 272"/>
              <a:gd name="T92" fmla="*/ 425 w 425"/>
              <a:gd name="T93" fmla="*/ 161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94" name="Freeform 346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>
              <a:gd name="T0" fmla="*/ 13 w 33"/>
              <a:gd name="T1" fmla="*/ 6 h 31"/>
              <a:gd name="T2" fmla="*/ 0 w 33"/>
              <a:gd name="T3" fmla="*/ 19 h 31"/>
              <a:gd name="T4" fmla="*/ 5 w 33"/>
              <a:gd name="T5" fmla="*/ 21 h 31"/>
              <a:gd name="T6" fmla="*/ 14 w 33"/>
              <a:gd name="T7" fmla="*/ 25 h 31"/>
              <a:gd name="T8" fmla="*/ 19 w 33"/>
              <a:gd name="T9" fmla="*/ 27 h 31"/>
              <a:gd name="T10" fmla="*/ 23 w 33"/>
              <a:gd name="T11" fmla="*/ 29 h 31"/>
              <a:gd name="T12" fmla="*/ 27 w 33"/>
              <a:gd name="T13" fmla="*/ 30 h 31"/>
              <a:gd name="T14" fmla="*/ 33 w 33"/>
              <a:gd name="T15" fmla="*/ 31 h 31"/>
              <a:gd name="T16" fmla="*/ 33 w 33"/>
              <a:gd name="T17" fmla="*/ 0 h 31"/>
              <a:gd name="T18" fmla="*/ 20 w 33"/>
              <a:gd name="T19" fmla="*/ 0 h 31"/>
              <a:gd name="T20" fmla="*/ 13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95" name="Freeform 347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>
              <a:gd name="T0" fmla="*/ 6 w 192"/>
              <a:gd name="T1" fmla="*/ 19 h 154"/>
              <a:gd name="T2" fmla="*/ 52 w 192"/>
              <a:gd name="T3" fmla="*/ 0 h 154"/>
              <a:gd name="T4" fmla="*/ 92 w 192"/>
              <a:gd name="T5" fmla="*/ 19 h 154"/>
              <a:gd name="T6" fmla="*/ 119 w 192"/>
              <a:gd name="T7" fmla="*/ 31 h 154"/>
              <a:gd name="T8" fmla="*/ 146 w 192"/>
              <a:gd name="T9" fmla="*/ 63 h 154"/>
              <a:gd name="T10" fmla="*/ 166 w 192"/>
              <a:gd name="T11" fmla="*/ 93 h 154"/>
              <a:gd name="T12" fmla="*/ 192 w 192"/>
              <a:gd name="T13" fmla="*/ 118 h 154"/>
              <a:gd name="T14" fmla="*/ 152 w 192"/>
              <a:gd name="T15" fmla="*/ 124 h 154"/>
              <a:gd name="T16" fmla="*/ 126 w 192"/>
              <a:gd name="T17" fmla="*/ 130 h 154"/>
              <a:gd name="T18" fmla="*/ 126 w 192"/>
              <a:gd name="T19" fmla="*/ 154 h 154"/>
              <a:gd name="T20" fmla="*/ 106 w 192"/>
              <a:gd name="T21" fmla="*/ 154 h 154"/>
              <a:gd name="T22" fmla="*/ 99 w 192"/>
              <a:gd name="T23" fmla="*/ 146 h 154"/>
              <a:gd name="T24" fmla="*/ 93 w 192"/>
              <a:gd name="T25" fmla="*/ 137 h 154"/>
              <a:gd name="T26" fmla="*/ 88 w 192"/>
              <a:gd name="T27" fmla="*/ 126 h 154"/>
              <a:gd name="T28" fmla="*/ 82 w 192"/>
              <a:gd name="T29" fmla="*/ 115 h 154"/>
              <a:gd name="T30" fmla="*/ 74 w 192"/>
              <a:gd name="T31" fmla="*/ 93 h 154"/>
              <a:gd name="T32" fmla="*/ 65 w 192"/>
              <a:gd name="T33" fmla="*/ 71 h 154"/>
              <a:gd name="T34" fmla="*/ 60 w 192"/>
              <a:gd name="T35" fmla="*/ 61 h 154"/>
              <a:gd name="T36" fmla="*/ 55 w 192"/>
              <a:gd name="T37" fmla="*/ 50 h 154"/>
              <a:gd name="T38" fmla="*/ 48 w 192"/>
              <a:gd name="T39" fmla="*/ 42 h 154"/>
              <a:gd name="T40" fmla="*/ 41 w 192"/>
              <a:gd name="T41" fmla="*/ 34 h 154"/>
              <a:gd name="T42" fmla="*/ 33 w 192"/>
              <a:gd name="T43" fmla="*/ 28 h 154"/>
              <a:gd name="T44" fmla="*/ 24 w 192"/>
              <a:gd name="T45" fmla="*/ 23 h 154"/>
              <a:gd name="T46" fmla="*/ 18 w 192"/>
              <a:gd name="T47" fmla="*/ 22 h 154"/>
              <a:gd name="T48" fmla="*/ 12 w 192"/>
              <a:gd name="T49" fmla="*/ 20 h 154"/>
              <a:gd name="T50" fmla="*/ 6 w 192"/>
              <a:gd name="T51" fmla="*/ 20 h 154"/>
              <a:gd name="T52" fmla="*/ 0 w 192"/>
              <a:gd name="T53" fmla="*/ 19 h 154"/>
              <a:gd name="T54" fmla="*/ 6 w 192"/>
              <a:gd name="T55" fmla="*/ 19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noFill/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96" name="Freeform 348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>
              <a:gd name="T0" fmla="*/ 392 w 877"/>
              <a:gd name="T1" fmla="*/ 340 h 469"/>
              <a:gd name="T2" fmla="*/ 319 w 877"/>
              <a:gd name="T3" fmla="*/ 253 h 469"/>
              <a:gd name="T4" fmla="*/ 206 w 877"/>
              <a:gd name="T5" fmla="*/ 241 h 469"/>
              <a:gd name="T6" fmla="*/ 191 w 877"/>
              <a:gd name="T7" fmla="*/ 243 h 469"/>
              <a:gd name="T8" fmla="*/ 178 w 877"/>
              <a:gd name="T9" fmla="*/ 251 h 469"/>
              <a:gd name="T10" fmla="*/ 162 w 877"/>
              <a:gd name="T11" fmla="*/ 267 h 469"/>
              <a:gd name="T12" fmla="*/ 151 w 877"/>
              <a:gd name="T13" fmla="*/ 271 h 469"/>
              <a:gd name="T14" fmla="*/ 121 w 877"/>
              <a:gd name="T15" fmla="*/ 268 h 469"/>
              <a:gd name="T16" fmla="*/ 79 w 877"/>
              <a:gd name="T17" fmla="*/ 255 h 469"/>
              <a:gd name="T18" fmla="*/ 26 w 877"/>
              <a:gd name="T19" fmla="*/ 247 h 469"/>
              <a:gd name="T20" fmla="*/ 8 w 877"/>
              <a:gd name="T21" fmla="*/ 212 h 469"/>
              <a:gd name="T22" fmla="*/ 13 w 877"/>
              <a:gd name="T23" fmla="*/ 187 h 469"/>
              <a:gd name="T24" fmla="*/ 13 w 877"/>
              <a:gd name="T25" fmla="*/ 180 h 469"/>
              <a:gd name="T26" fmla="*/ 23 w 877"/>
              <a:gd name="T27" fmla="*/ 144 h 469"/>
              <a:gd name="T28" fmla="*/ 44 w 877"/>
              <a:gd name="T29" fmla="*/ 112 h 469"/>
              <a:gd name="T30" fmla="*/ 54 w 877"/>
              <a:gd name="T31" fmla="*/ 92 h 469"/>
              <a:gd name="T32" fmla="*/ 26 w 877"/>
              <a:gd name="T33" fmla="*/ 50 h 469"/>
              <a:gd name="T34" fmla="*/ 173 w 877"/>
              <a:gd name="T35" fmla="*/ 26 h 469"/>
              <a:gd name="T36" fmla="*/ 339 w 877"/>
              <a:gd name="T37" fmla="*/ 50 h 469"/>
              <a:gd name="T38" fmla="*/ 392 w 877"/>
              <a:gd name="T39" fmla="*/ 13 h 469"/>
              <a:gd name="T40" fmla="*/ 485 w 877"/>
              <a:gd name="T41" fmla="*/ 0 h 469"/>
              <a:gd name="T42" fmla="*/ 579 w 877"/>
              <a:gd name="T43" fmla="*/ 38 h 469"/>
              <a:gd name="T44" fmla="*/ 638 w 877"/>
              <a:gd name="T45" fmla="*/ 111 h 469"/>
              <a:gd name="T46" fmla="*/ 725 w 877"/>
              <a:gd name="T47" fmla="*/ 111 h 469"/>
              <a:gd name="T48" fmla="*/ 838 w 877"/>
              <a:gd name="T49" fmla="*/ 155 h 469"/>
              <a:gd name="T50" fmla="*/ 864 w 877"/>
              <a:gd name="T51" fmla="*/ 235 h 469"/>
              <a:gd name="T52" fmla="*/ 804 w 877"/>
              <a:gd name="T53" fmla="*/ 272 h 469"/>
              <a:gd name="T54" fmla="*/ 754 w 877"/>
              <a:gd name="T55" fmla="*/ 313 h 469"/>
              <a:gd name="T56" fmla="*/ 688 w 877"/>
              <a:gd name="T57" fmla="*/ 330 h 469"/>
              <a:gd name="T58" fmla="*/ 663 w 877"/>
              <a:gd name="T59" fmla="*/ 343 h 469"/>
              <a:gd name="T60" fmla="*/ 648 w 877"/>
              <a:gd name="T61" fmla="*/ 358 h 469"/>
              <a:gd name="T62" fmla="*/ 646 w 877"/>
              <a:gd name="T63" fmla="*/ 375 h 469"/>
              <a:gd name="T64" fmla="*/ 653 w 877"/>
              <a:gd name="T65" fmla="*/ 390 h 469"/>
              <a:gd name="T66" fmla="*/ 666 w 877"/>
              <a:gd name="T67" fmla="*/ 401 h 469"/>
              <a:gd name="T68" fmla="*/ 711 w 877"/>
              <a:gd name="T69" fmla="*/ 396 h 469"/>
              <a:gd name="T70" fmla="*/ 741 w 877"/>
              <a:gd name="T71" fmla="*/ 394 h 469"/>
              <a:gd name="T72" fmla="*/ 734 w 877"/>
              <a:gd name="T73" fmla="*/ 403 h 469"/>
              <a:gd name="T74" fmla="*/ 716 w 877"/>
              <a:gd name="T75" fmla="*/ 421 h 469"/>
              <a:gd name="T76" fmla="*/ 698 w 877"/>
              <a:gd name="T77" fmla="*/ 438 h 469"/>
              <a:gd name="T78" fmla="*/ 689 w 877"/>
              <a:gd name="T79" fmla="*/ 419 h 469"/>
              <a:gd name="T80" fmla="*/ 671 w 877"/>
              <a:gd name="T81" fmla="*/ 408 h 469"/>
              <a:gd name="T82" fmla="*/ 666 w 877"/>
              <a:gd name="T83" fmla="*/ 423 h 469"/>
              <a:gd name="T84" fmla="*/ 643 w 877"/>
              <a:gd name="T85" fmla="*/ 442 h 469"/>
              <a:gd name="T86" fmla="*/ 619 w 877"/>
              <a:gd name="T87" fmla="*/ 460 h 469"/>
              <a:gd name="T88" fmla="*/ 611 w 877"/>
              <a:gd name="T89" fmla="*/ 469 h 469"/>
              <a:gd name="T90" fmla="*/ 595 w 877"/>
              <a:gd name="T91" fmla="*/ 464 h 469"/>
              <a:gd name="T92" fmla="*/ 584 w 877"/>
              <a:gd name="T93" fmla="*/ 455 h 469"/>
              <a:gd name="T94" fmla="*/ 575 w 877"/>
              <a:gd name="T95" fmla="*/ 439 h 469"/>
              <a:gd name="T96" fmla="*/ 572 w 877"/>
              <a:gd name="T97" fmla="*/ 408 h 469"/>
              <a:gd name="T98" fmla="*/ 548 w 877"/>
              <a:gd name="T99" fmla="*/ 404 h 469"/>
              <a:gd name="T100" fmla="*/ 518 w 877"/>
              <a:gd name="T101" fmla="*/ 389 h 469"/>
              <a:gd name="T102" fmla="*/ 559 w 877"/>
              <a:gd name="T103" fmla="*/ 379 h 469"/>
              <a:gd name="T104" fmla="*/ 625 w 877"/>
              <a:gd name="T105" fmla="*/ 370 h 469"/>
              <a:gd name="T106" fmla="*/ 493 w 877"/>
              <a:gd name="T107" fmla="*/ 354 h 469"/>
              <a:gd name="T108" fmla="*/ 445 w 877"/>
              <a:gd name="T109" fmla="*/ 333 h 469"/>
              <a:gd name="T110" fmla="*/ 398 w 877"/>
              <a:gd name="T111" fmla="*/ 369 h 469"/>
              <a:gd name="T112" fmla="*/ 380 w 877"/>
              <a:gd name="T113" fmla="*/ 395 h 469"/>
              <a:gd name="T114" fmla="*/ 353 w 877"/>
              <a:gd name="T115" fmla="*/ 400 h 469"/>
              <a:gd name="T116" fmla="*/ 328 w 877"/>
              <a:gd name="T117" fmla="*/ 392 h 469"/>
              <a:gd name="T118" fmla="*/ 306 w 877"/>
              <a:gd name="T119" fmla="*/ 376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97" name="Freeform 349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>
              <a:gd name="T0" fmla="*/ 48 w 107"/>
              <a:gd name="T1" fmla="*/ 0 h 123"/>
              <a:gd name="T2" fmla="*/ 81 w 107"/>
              <a:gd name="T3" fmla="*/ 31 h 123"/>
              <a:gd name="T4" fmla="*/ 94 w 107"/>
              <a:gd name="T5" fmla="*/ 67 h 123"/>
              <a:gd name="T6" fmla="*/ 107 w 107"/>
              <a:gd name="T7" fmla="*/ 86 h 123"/>
              <a:gd name="T8" fmla="*/ 107 w 107"/>
              <a:gd name="T9" fmla="*/ 117 h 123"/>
              <a:gd name="T10" fmla="*/ 107 w 107"/>
              <a:gd name="T11" fmla="*/ 123 h 123"/>
              <a:gd name="T12" fmla="*/ 88 w 107"/>
              <a:gd name="T13" fmla="*/ 114 h 123"/>
              <a:gd name="T14" fmla="*/ 73 w 107"/>
              <a:gd name="T15" fmla="*/ 105 h 123"/>
              <a:gd name="T16" fmla="*/ 61 w 107"/>
              <a:gd name="T17" fmla="*/ 98 h 123"/>
              <a:gd name="T18" fmla="*/ 54 w 107"/>
              <a:gd name="T19" fmla="*/ 92 h 123"/>
              <a:gd name="T20" fmla="*/ 51 w 107"/>
              <a:gd name="T21" fmla="*/ 83 h 123"/>
              <a:gd name="T22" fmla="*/ 48 w 107"/>
              <a:gd name="T23" fmla="*/ 73 h 123"/>
              <a:gd name="T24" fmla="*/ 39 w 107"/>
              <a:gd name="T25" fmla="*/ 74 h 123"/>
              <a:gd name="T26" fmla="*/ 32 w 107"/>
              <a:gd name="T27" fmla="*/ 73 h 123"/>
              <a:gd name="T28" fmla="*/ 26 w 107"/>
              <a:gd name="T29" fmla="*/ 72 h 123"/>
              <a:gd name="T30" fmla="*/ 21 w 107"/>
              <a:gd name="T31" fmla="*/ 70 h 123"/>
              <a:gd name="T32" fmla="*/ 17 w 107"/>
              <a:gd name="T33" fmla="*/ 67 h 123"/>
              <a:gd name="T34" fmla="*/ 14 w 107"/>
              <a:gd name="T35" fmla="*/ 63 h 123"/>
              <a:gd name="T36" fmla="*/ 11 w 107"/>
              <a:gd name="T37" fmla="*/ 59 h 123"/>
              <a:gd name="T38" fmla="*/ 9 w 107"/>
              <a:gd name="T39" fmla="*/ 54 h 123"/>
              <a:gd name="T40" fmla="*/ 4 w 107"/>
              <a:gd name="T41" fmla="*/ 31 h 123"/>
              <a:gd name="T42" fmla="*/ 0 w 107"/>
              <a:gd name="T43" fmla="*/ 6 h 123"/>
              <a:gd name="T44" fmla="*/ 34 w 107"/>
              <a:gd name="T45" fmla="*/ 0 h 123"/>
              <a:gd name="T46" fmla="*/ 48 w 107"/>
              <a:gd name="T47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98" name="Freeform 350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>
              <a:gd name="T0" fmla="*/ 106 w 471"/>
              <a:gd name="T1" fmla="*/ 67 h 234"/>
              <a:gd name="T2" fmla="*/ 166 w 471"/>
              <a:gd name="T3" fmla="*/ 86 h 234"/>
              <a:gd name="T4" fmla="*/ 272 w 471"/>
              <a:gd name="T5" fmla="*/ 105 h 234"/>
              <a:gd name="T6" fmla="*/ 372 w 471"/>
              <a:gd name="T7" fmla="*/ 86 h 234"/>
              <a:gd name="T8" fmla="*/ 383 w 471"/>
              <a:gd name="T9" fmla="*/ 95 h 234"/>
              <a:gd name="T10" fmla="*/ 391 w 471"/>
              <a:gd name="T11" fmla="*/ 114 h 234"/>
              <a:gd name="T12" fmla="*/ 406 w 471"/>
              <a:gd name="T13" fmla="*/ 124 h 234"/>
              <a:gd name="T14" fmla="*/ 424 w 471"/>
              <a:gd name="T15" fmla="*/ 129 h 234"/>
              <a:gd name="T16" fmla="*/ 433 w 471"/>
              <a:gd name="T17" fmla="*/ 134 h 234"/>
              <a:gd name="T18" fmla="*/ 441 w 471"/>
              <a:gd name="T19" fmla="*/ 141 h 234"/>
              <a:gd name="T20" fmla="*/ 448 w 471"/>
              <a:gd name="T21" fmla="*/ 151 h 234"/>
              <a:gd name="T22" fmla="*/ 455 w 471"/>
              <a:gd name="T23" fmla="*/ 170 h 234"/>
              <a:gd name="T24" fmla="*/ 471 w 471"/>
              <a:gd name="T25" fmla="*/ 190 h 234"/>
              <a:gd name="T26" fmla="*/ 350 w 471"/>
              <a:gd name="T27" fmla="*/ 202 h 234"/>
              <a:gd name="T28" fmla="*/ 330 w 471"/>
              <a:gd name="T29" fmla="*/ 224 h 234"/>
              <a:gd name="T30" fmla="*/ 317 w 471"/>
              <a:gd name="T31" fmla="*/ 233 h 234"/>
              <a:gd name="T32" fmla="*/ 306 w 471"/>
              <a:gd name="T33" fmla="*/ 233 h 234"/>
              <a:gd name="T34" fmla="*/ 298 w 471"/>
              <a:gd name="T35" fmla="*/ 230 h 234"/>
              <a:gd name="T36" fmla="*/ 292 w 471"/>
              <a:gd name="T37" fmla="*/ 224 h 234"/>
              <a:gd name="T38" fmla="*/ 289 w 471"/>
              <a:gd name="T39" fmla="*/ 216 h 234"/>
              <a:gd name="T40" fmla="*/ 284 w 471"/>
              <a:gd name="T41" fmla="*/ 199 h 234"/>
              <a:gd name="T42" fmla="*/ 278 w 471"/>
              <a:gd name="T43" fmla="*/ 174 h 234"/>
              <a:gd name="T44" fmla="*/ 269 w 471"/>
              <a:gd name="T45" fmla="*/ 155 h 234"/>
              <a:gd name="T46" fmla="*/ 258 w 471"/>
              <a:gd name="T47" fmla="*/ 148 h 234"/>
              <a:gd name="T48" fmla="*/ 246 w 471"/>
              <a:gd name="T49" fmla="*/ 141 h 234"/>
              <a:gd name="T50" fmla="*/ 236 w 471"/>
              <a:gd name="T51" fmla="*/ 133 h 234"/>
              <a:gd name="T52" fmla="*/ 224 w 471"/>
              <a:gd name="T53" fmla="*/ 140 h 234"/>
              <a:gd name="T54" fmla="*/ 207 w 471"/>
              <a:gd name="T55" fmla="*/ 162 h 234"/>
              <a:gd name="T56" fmla="*/ 200 w 471"/>
              <a:gd name="T57" fmla="*/ 177 h 234"/>
              <a:gd name="T58" fmla="*/ 188 w 471"/>
              <a:gd name="T59" fmla="*/ 190 h 234"/>
              <a:gd name="T60" fmla="*/ 167 w 471"/>
              <a:gd name="T61" fmla="*/ 201 h 234"/>
              <a:gd name="T62" fmla="*/ 147 w 471"/>
              <a:gd name="T63" fmla="*/ 213 h 234"/>
              <a:gd name="T64" fmla="*/ 130 w 471"/>
              <a:gd name="T65" fmla="*/ 219 h 234"/>
              <a:gd name="T66" fmla="*/ 114 w 471"/>
              <a:gd name="T67" fmla="*/ 222 h 234"/>
              <a:gd name="T68" fmla="*/ 97 w 471"/>
              <a:gd name="T69" fmla="*/ 221 h 234"/>
              <a:gd name="T70" fmla="*/ 82 w 471"/>
              <a:gd name="T71" fmla="*/ 217 h 234"/>
              <a:gd name="T72" fmla="*/ 63 w 471"/>
              <a:gd name="T73" fmla="*/ 205 h 234"/>
              <a:gd name="T74" fmla="*/ 59 w 471"/>
              <a:gd name="T75" fmla="*/ 197 h 234"/>
              <a:gd name="T76" fmla="*/ 59 w 471"/>
              <a:gd name="T77" fmla="*/ 135 h 234"/>
              <a:gd name="T78" fmla="*/ 0 w 471"/>
              <a:gd name="T79" fmla="*/ 98 h 234"/>
              <a:gd name="T80" fmla="*/ 53 w 471"/>
              <a:gd name="T81" fmla="*/ 80 h 234"/>
              <a:gd name="T82" fmla="*/ 86 w 471"/>
              <a:gd name="T83" fmla="*/ 30 h 234"/>
              <a:gd name="T84" fmla="*/ 133 w 471"/>
              <a:gd name="T85" fmla="*/ 0 h 234"/>
              <a:gd name="T86" fmla="*/ 166 w 471"/>
              <a:gd name="T87" fmla="*/ 42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399" name="Freeform 351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>
              <a:gd name="T0" fmla="*/ 106 w 525"/>
              <a:gd name="T1" fmla="*/ 185 h 241"/>
              <a:gd name="T2" fmla="*/ 173 w 525"/>
              <a:gd name="T3" fmla="*/ 148 h 241"/>
              <a:gd name="T4" fmla="*/ 93 w 525"/>
              <a:gd name="T5" fmla="*/ 105 h 241"/>
              <a:gd name="T6" fmla="*/ 47 w 525"/>
              <a:gd name="T7" fmla="*/ 117 h 241"/>
              <a:gd name="T8" fmla="*/ 66 w 525"/>
              <a:gd name="T9" fmla="*/ 61 h 241"/>
              <a:gd name="T10" fmla="*/ 40 w 525"/>
              <a:gd name="T11" fmla="*/ 43 h 241"/>
              <a:gd name="T12" fmla="*/ 112 w 525"/>
              <a:gd name="T13" fmla="*/ 25 h 241"/>
              <a:gd name="T14" fmla="*/ 186 w 525"/>
              <a:gd name="T15" fmla="*/ 0 h 241"/>
              <a:gd name="T16" fmla="*/ 312 w 525"/>
              <a:gd name="T17" fmla="*/ 19 h 241"/>
              <a:gd name="T18" fmla="*/ 439 w 525"/>
              <a:gd name="T19" fmla="*/ 25 h 241"/>
              <a:gd name="T20" fmla="*/ 525 w 525"/>
              <a:gd name="T21" fmla="*/ 55 h 241"/>
              <a:gd name="T22" fmla="*/ 519 w 525"/>
              <a:gd name="T23" fmla="*/ 69 h 241"/>
              <a:gd name="T24" fmla="*/ 510 w 525"/>
              <a:gd name="T25" fmla="*/ 82 h 241"/>
              <a:gd name="T26" fmla="*/ 499 w 525"/>
              <a:gd name="T27" fmla="*/ 92 h 241"/>
              <a:gd name="T28" fmla="*/ 485 w 525"/>
              <a:gd name="T29" fmla="*/ 99 h 241"/>
              <a:gd name="T30" fmla="*/ 442 w 525"/>
              <a:gd name="T31" fmla="*/ 103 h 241"/>
              <a:gd name="T32" fmla="*/ 418 w 525"/>
              <a:gd name="T33" fmla="*/ 107 h 241"/>
              <a:gd name="T34" fmla="*/ 407 w 525"/>
              <a:gd name="T35" fmla="*/ 111 h 241"/>
              <a:gd name="T36" fmla="*/ 399 w 525"/>
              <a:gd name="T37" fmla="*/ 117 h 241"/>
              <a:gd name="T38" fmla="*/ 387 w 525"/>
              <a:gd name="T39" fmla="*/ 136 h 241"/>
              <a:gd name="T40" fmla="*/ 378 w 525"/>
              <a:gd name="T41" fmla="*/ 147 h 241"/>
              <a:gd name="T42" fmla="*/ 365 w 525"/>
              <a:gd name="T43" fmla="*/ 154 h 241"/>
              <a:gd name="T44" fmla="*/ 305 w 525"/>
              <a:gd name="T45" fmla="*/ 166 h 241"/>
              <a:gd name="T46" fmla="*/ 273 w 525"/>
              <a:gd name="T47" fmla="*/ 173 h 241"/>
              <a:gd name="T48" fmla="*/ 260 w 525"/>
              <a:gd name="T49" fmla="*/ 178 h 241"/>
              <a:gd name="T50" fmla="*/ 261 w 525"/>
              <a:gd name="T51" fmla="*/ 192 h 241"/>
              <a:gd name="T52" fmla="*/ 263 w 525"/>
              <a:gd name="T53" fmla="*/ 203 h 241"/>
              <a:gd name="T54" fmla="*/ 273 w 525"/>
              <a:gd name="T55" fmla="*/ 222 h 241"/>
              <a:gd name="T56" fmla="*/ 219 w 525"/>
              <a:gd name="T57" fmla="*/ 228 h 241"/>
              <a:gd name="T58" fmla="*/ 112 w 525"/>
              <a:gd name="T59" fmla="*/ 234 h 241"/>
              <a:gd name="T60" fmla="*/ 20 w 525"/>
              <a:gd name="T61" fmla="*/ 222 h 241"/>
              <a:gd name="T62" fmla="*/ 53 w 525"/>
              <a:gd name="T63" fmla="*/ 166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00" name="Freeform 352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>
              <a:gd name="T0" fmla="*/ 768 w 784"/>
              <a:gd name="T1" fmla="*/ 292 h 430"/>
              <a:gd name="T2" fmla="*/ 751 w 784"/>
              <a:gd name="T3" fmla="*/ 293 h 430"/>
              <a:gd name="T4" fmla="*/ 731 w 784"/>
              <a:gd name="T5" fmla="*/ 302 h 430"/>
              <a:gd name="T6" fmla="*/ 723 w 784"/>
              <a:gd name="T7" fmla="*/ 308 h 430"/>
              <a:gd name="T8" fmla="*/ 717 w 784"/>
              <a:gd name="T9" fmla="*/ 332 h 430"/>
              <a:gd name="T10" fmla="*/ 713 w 784"/>
              <a:gd name="T11" fmla="*/ 360 h 430"/>
              <a:gd name="T12" fmla="*/ 704 w 784"/>
              <a:gd name="T13" fmla="*/ 376 h 430"/>
              <a:gd name="T14" fmla="*/ 671 w 784"/>
              <a:gd name="T15" fmla="*/ 402 h 430"/>
              <a:gd name="T16" fmla="*/ 633 w 784"/>
              <a:gd name="T17" fmla="*/ 420 h 430"/>
              <a:gd name="T18" fmla="*/ 612 w 784"/>
              <a:gd name="T19" fmla="*/ 424 h 430"/>
              <a:gd name="T20" fmla="*/ 587 w 784"/>
              <a:gd name="T21" fmla="*/ 429 h 430"/>
              <a:gd name="T22" fmla="*/ 567 w 784"/>
              <a:gd name="T23" fmla="*/ 428 h 430"/>
              <a:gd name="T24" fmla="*/ 545 w 784"/>
              <a:gd name="T25" fmla="*/ 388 h 430"/>
              <a:gd name="T26" fmla="*/ 515 w 784"/>
              <a:gd name="T27" fmla="*/ 344 h 430"/>
              <a:gd name="T28" fmla="*/ 478 w 784"/>
              <a:gd name="T29" fmla="*/ 334 h 430"/>
              <a:gd name="T30" fmla="*/ 448 w 784"/>
              <a:gd name="T31" fmla="*/ 315 h 430"/>
              <a:gd name="T32" fmla="*/ 417 w 784"/>
              <a:gd name="T33" fmla="*/ 294 h 430"/>
              <a:gd name="T34" fmla="*/ 373 w 784"/>
              <a:gd name="T35" fmla="*/ 274 h 430"/>
              <a:gd name="T36" fmla="*/ 306 w 784"/>
              <a:gd name="T37" fmla="*/ 258 h 430"/>
              <a:gd name="T38" fmla="*/ 182 w 784"/>
              <a:gd name="T39" fmla="*/ 283 h 430"/>
              <a:gd name="T40" fmla="*/ 151 w 784"/>
              <a:gd name="T41" fmla="*/ 306 h 430"/>
              <a:gd name="T42" fmla="*/ 127 w 784"/>
              <a:gd name="T43" fmla="*/ 308 h 430"/>
              <a:gd name="T44" fmla="*/ 66 w 784"/>
              <a:gd name="T45" fmla="*/ 252 h 430"/>
              <a:gd name="T46" fmla="*/ 66 w 784"/>
              <a:gd name="T47" fmla="*/ 204 h 430"/>
              <a:gd name="T48" fmla="*/ 40 w 784"/>
              <a:gd name="T49" fmla="*/ 179 h 430"/>
              <a:gd name="T50" fmla="*/ 42 w 784"/>
              <a:gd name="T51" fmla="*/ 199 h 430"/>
              <a:gd name="T52" fmla="*/ 36 w 784"/>
              <a:gd name="T53" fmla="*/ 218 h 430"/>
              <a:gd name="T54" fmla="*/ 30 w 784"/>
              <a:gd name="T55" fmla="*/ 221 h 430"/>
              <a:gd name="T56" fmla="*/ 31 w 784"/>
              <a:gd name="T57" fmla="*/ 203 h 430"/>
              <a:gd name="T58" fmla="*/ 27 w 784"/>
              <a:gd name="T59" fmla="*/ 174 h 430"/>
              <a:gd name="T60" fmla="*/ 33 w 784"/>
              <a:gd name="T61" fmla="*/ 163 h 430"/>
              <a:gd name="T62" fmla="*/ 40 w 784"/>
              <a:gd name="T63" fmla="*/ 152 h 430"/>
              <a:gd name="T64" fmla="*/ 27 w 784"/>
              <a:gd name="T65" fmla="*/ 129 h 430"/>
              <a:gd name="T66" fmla="*/ 7 w 784"/>
              <a:gd name="T67" fmla="*/ 126 h 430"/>
              <a:gd name="T68" fmla="*/ 0 w 784"/>
              <a:gd name="T69" fmla="*/ 117 h 430"/>
              <a:gd name="T70" fmla="*/ 3 w 784"/>
              <a:gd name="T71" fmla="*/ 104 h 430"/>
              <a:gd name="T72" fmla="*/ 11 w 784"/>
              <a:gd name="T73" fmla="*/ 94 h 430"/>
              <a:gd name="T74" fmla="*/ 27 w 784"/>
              <a:gd name="T75" fmla="*/ 92 h 430"/>
              <a:gd name="T76" fmla="*/ 41 w 784"/>
              <a:gd name="T77" fmla="*/ 99 h 430"/>
              <a:gd name="T78" fmla="*/ 57 w 784"/>
              <a:gd name="T79" fmla="*/ 104 h 430"/>
              <a:gd name="T80" fmla="*/ 71 w 784"/>
              <a:gd name="T81" fmla="*/ 92 h 430"/>
              <a:gd name="T82" fmla="*/ 83 w 784"/>
              <a:gd name="T83" fmla="*/ 77 h 430"/>
              <a:gd name="T84" fmla="*/ 87 w 784"/>
              <a:gd name="T85" fmla="*/ 64 h 430"/>
              <a:gd name="T86" fmla="*/ 78 w 784"/>
              <a:gd name="T87" fmla="*/ 55 h 430"/>
              <a:gd name="T88" fmla="*/ 55 w 784"/>
              <a:gd name="T89" fmla="*/ 49 h 430"/>
              <a:gd name="T90" fmla="*/ 47 w 784"/>
              <a:gd name="T91" fmla="*/ 40 h 430"/>
              <a:gd name="T92" fmla="*/ 41 w 784"/>
              <a:gd name="T93" fmla="*/ 28 h 430"/>
              <a:gd name="T94" fmla="*/ 107 w 784"/>
              <a:gd name="T95" fmla="*/ 43 h 430"/>
              <a:gd name="T96" fmla="*/ 219 w 784"/>
              <a:gd name="T97" fmla="*/ 74 h 430"/>
              <a:gd name="T98" fmla="*/ 273 w 784"/>
              <a:gd name="T99" fmla="*/ 0 h 430"/>
              <a:gd name="T100" fmla="*/ 373 w 784"/>
              <a:gd name="T101" fmla="*/ 43 h 430"/>
              <a:gd name="T102" fmla="*/ 465 w 784"/>
              <a:gd name="T103" fmla="*/ 92 h 430"/>
              <a:gd name="T104" fmla="*/ 591 w 784"/>
              <a:gd name="T105" fmla="*/ 210 h 430"/>
              <a:gd name="T106" fmla="*/ 724 w 784"/>
              <a:gd name="T107" fmla="*/ 265 h 430"/>
              <a:gd name="T108" fmla="*/ 778 w 784"/>
              <a:gd name="T109" fmla="*/ 295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01" name="Freeform 353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>
              <a:gd name="T0" fmla="*/ 30 w 246"/>
              <a:gd name="T1" fmla="*/ 27 h 284"/>
              <a:gd name="T2" fmla="*/ 28 w 246"/>
              <a:gd name="T3" fmla="*/ 24 h 284"/>
              <a:gd name="T4" fmla="*/ 24 w 246"/>
              <a:gd name="T5" fmla="*/ 17 h 284"/>
              <a:gd name="T6" fmla="*/ 35 w 246"/>
              <a:gd name="T7" fmla="*/ 5 h 284"/>
              <a:gd name="T8" fmla="*/ 67 w 246"/>
              <a:gd name="T9" fmla="*/ 1 h 284"/>
              <a:gd name="T10" fmla="*/ 126 w 246"/>
              <a:gd name="T11" fmla="*/ 12 h 284"/>
              <a:gd name="T12" fmla="*/ 131 w 246"/>
              <a:gd name="T13" fmla="*/ 30 h 284"/>
              <a:gd name="T14" fmla="*/ 139 w 246"/>
              <a:gd name="T15" fmla="*/ 46 h 284"/>
              <a:gd name="T16" fmla="*/ 151 w 246"/>
              <a:gd name="T17" fmla="*/ 57 h 284"/>
              <a:gd name="T18" fmla="*/ 165 w 246"/>
              <a:gd name="T19" fmla="*/ 67 h 284"/>
              <a:gd name="T20" fmla="*/ 191 w 246"/>
              <a:gd name="T21" fmla="*/ 87 h 284"/>
              <a:gd name="T22" fmla="*/ 203 w 246"/>
              <a:gd name="T23" fmla="*/ 101 h 284"/>
              <a:gd name="T24" fmla="*/ 212 w 246"/>
              <a:gd name="T25" fmla="*/ 117 h 284"/>
              <a:gd name="T26" fmla="*/ 226 w 246"/>
              <a:gd name="T27" fmla="*/ 117 h 284"/>
              <a:gd name="T28" fmla="*/ 221 w 246"/>
              <a:gd name="T29" fmla="*/ 124 h 284"/>
              <a:gd name="T30" fmla="*/ 221 w 246"/>
              <a:gd name="T31" fmla="*/ 129 h 284"/>
              <a:gd name="T32" fmla="*/ 228 w 246"/>
              <a:gd name="T33" fmla="*/ 140 h 284"/>
              <a:gd name="T34" fmla="*/ 239 w 246"/>
              <a:gd name="T35" fmla="*/ 154 h 284"/>
              <a:gd name="T36" fmla="*/ 244 w 246"/>
              <a:gd name="T37" fmla="*/ 162 h 284"/>
              <a:gd name="T38" fmla="*/ 246 w 246"/>
              <a:gd name="T39" fmla="*/ 173 h 284"/>
              <a:gd name="T40" fmla="*/ 241 w 246"/>
              <a:gd name="T41" fmla="*/ 184 h 284"/>
              <a:gd name="T42" fmla="*/ 233 w 246"/>
              <a:gd name="T43" fmla="*/ 192 h 284"/>
              <a:gd name="T44" fmla="*/ 223 w 246"/>
              <a:gd name="T45" fmla="*/ 198 h 284"/>
              <a:gd name="T46" fmla="*/ 220 w 246"/>
              <a:gd name="T47" fmla="*/ 204 h 284"/>
              <a:gd name="T48" fmla="*/ 189 w 246"/>
              <a:gd name="T49" fmla="*/ 215 h 284"/>
              <a:gd name="T50" fmla="*/ 164 w 246"/>
              <a:gd name="T51" fmla="*/ 230 h 284"/>
              <a:gd name="T52" fmla="*/ 113 w 246"/>
              <a:gd name="T53" fmla="*/ 265 h 284"/>
              <a:gd name="T54" fmla="*/ 88 w 246"/>
              <a:gd name="T55" fmla="*/ 231 h 284"/>
              <a:gd name="T56" fmla="*/ 79 w 246"/>
              <a:gd name="T57" fmla="*/ 220 h 284"/>
              <a:gd name="T58" fmla="*/ 72 w 246"/>
              <a:gd name="T59" fmla="*/ 216 h 284"/>
              <a:gd name="T60" fmla="*/ 60 w 246"/>
              <a:gd name="T61" fmla="*/ 217 h 284"/>
              <a:gd name="T62" fmla="*/ 54 w 246"/>
              <a:gd name="T63" fmla="*/ 221 h 284"/>
              <a:gd name="T64" fmla="*/ 49 w 246"/>
              <a:gd name="T65" fmla="*/ 228 h 284"/>
              <a:gd name="T66" fmla="*/ 48 w 246"/>
              <a:gd name="T67" fmla="*/ 236 h 284"/>
              <a:gd name="T68" fmla="*/ 45 w 246"/>
              <a:gd name="T69" fmla="*/ 257 h 284"/>
              <a:gd name="T70" fmla="*/ 41 w 246"/>
              <a:gd name="T71" fmla="*/ 270 h 284"/>
              <a:gd name="T72" fmla="*/ 33 w 246"/>
              <a:gd name="T73" fmla="*/ 284 h 284"/>
              <a:gd name="T74" fmla="*/ 26 w 246"/>
              <a:gd name="T75" fmla="*/ 243 h 284"/>
              <a:gd name="T76" fmla="*/ 17 w 246"/>
              <a:gd name="T77" fmla="*/ 227 h 284"/>
              <a:gd name="T78" fmla="*/ 11 w 246"/>
              <a:gd name="T79" fmla="*/ 221 h 284"/>
              <a:gd name="T80" fmla="*/ 0 w 246"/>
              <a:gd name="T81" fmla="*/ 216 h 284"/>
              <a:gd name="T82" fmla="*/ 1 w 246"/>
              <a:gd name="T83" fmla="*/ 204 h 284"/>
              <a:gd name="T84" fmla="*/ 4 w 246"/>
              <a:gd name="T85" fmla="*/ 193 h 284"/>
              <a:gd name="T86" fmla="*/ 15 w 246"/>
              <a:gd name="T87" fmla="*/ 176 h 284"/>
              <a:gd name="T88" fmla="*/ 31 w 246"/>
              <a:gd name="T89" fmla="*/ 161 h 284"/>
              <a:gd name="T90" fmla="*/ 46 w 246"/>
              <a:gd name="T91" fmla="*/ 141 h 284"/>
              <a:gd name="T92" fmla="*/ 33 w 246"/>
              <a:gd name="T93" fmla="*/ 4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02" name="Freeform 354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>
              <a:gd name="T0" fmla="*/ 114 w 160"/>
              <a:gd name="T1" fmla="*/ 0 h 117"/>
              <a:gd name="T2" fmla="*/ 114 w 160"/>
              <a:gd name="T3" fmla="*/ 9 h 117"/>
              <a:gd name="T4" fmla="*/ 114 w 160"/>
              <a:gd name="T5" fmla="*/ 18 h 117"/>
              <a:gd name="T6" fmla="*/ 115 w 160"/>
              <a:gd name="T7" fmla="*/ 25 h 117"/>
              <a:gd name="T8" fmla="*/ 117 w 160"/>
              <a:gd name="T9" fmla="*/ 32 h 117"/>
              <a:gd name="T10" fmla="*/ 119 w 160"/>
              <a:gd name="T11" fmla="*/ 34 h 117"/>
              <a:gd name="T12" fmla="*/ 121 w 160"/>
              <a:gd name="T13" fmla="*/ 37 h 117"/>
              <a:gd name="T14" fmla="*/ 123 w 160"/>
              <a:gd name="T15" fmla="*/ 38 h 117"/>
              <a:gd name="T16" fmla="*/ 127 w 160"/>
              <a:gd name="T17" fmla="*/ 39 h 117"/>
              <a:gd name="T18" fmla="*/ 131 w 160"/>
              <a:gd name="T19" fmla="*/ 40 h 117"/>
              <a:gd name="T20" fmla="*/ 135 w 160"/>
              <a:gd name="T21" fmla="*/ 39 h 117"/>
              <a:gd name="T22" fmla="*/ 140 w 160"/>
              <a:gd name="T23" fmla="*/ 38 h 117"/>
              <a:gd name="T24" fmla="*/ 146 w 160"/>
              <a:gd name="T25" fmla="*/ 36 h 117"/>
              <a:gd name="T26" fmla="*/ 149 w 160"/>
              <a:gd name="T27" fmla="*/ 43 h 117"/>
              <a:gd name="T28" fmla="*/ 153 w 160"/>
              <a:gd name="T29" fmla="*/ 52 h 117"/>
              <a:gd name="T30" fmla="*/ 157 w 160"/>
              <a:gd name="T31" fmla="*/ 64 h 117"/>
              <a:gd name="T32" fmla="*/ 160 w 160"/>
              <a:gd name="T33" fmla="*/ 74 h 117"/>
              <a:gd name="T34" fmla="*/ 133 w 160"/>
              <a:gd name="T35" fmla="*/ 88 h 117"/>
              <a:gd name="T36" fmla="*/ 106 w 160"/>
              <a:gd name="T37" fmla="*/ 102 h 117"/>
              <a:gd name="T38" fmla="*/ 92 w 160"/>
              <a:gd name="T39" fmla="*/ 107 h 117"/>
              <a:gd name="T40" fmla="*/ 76 w 160"/>
              <a:gd name="T41" fmla="*/ 113 h 117"/>
              <a:gd name="T42" fmla="*/ 62 w 160"/>
              <a:gd name="T43" fmla="*/ 116 h 117"/>
              <a:gd name="T44" fmla="*/ 47 w 160"/>
              <a:gd name="T45" fmla="*/ 117 h 117"/>
              <a:gd name="T46" fmla="*/ 32 w 160"/>
              <a:gd name="T47" fmla="*/ 99 h 117"/>
              <a:gd name="T48" fmla="*/ 21 w 160"/>
              <a:gd name="T49" fmla="*/ 83 h 117"/>
              <a:gd name="T50" fmla="*/ 10 w 160"/>
              <a:gd name="T51" fmla="*/ 69 h 117"/>
              <a:gd name="T52" fmla="*/ 0 w 160"/>
              <a:gd name="T53" fmla="*/ 55 h 117"/>
              <a:gd name="T54" fmla="*/ 13 w 160"/>
              <a:gd name="T55" fmla="*/ 48 h 117"/>
              <a:gd name="T56" fmla="*/ 41 w 160"/>
              <a:gd name="T57" fmla="*/ 32 h 117"/>
              <a:gd name="T58" fmla="*/ 60 w 160"/>
              <a:gd name="T59" fmla="*/ 23 h 117"/>
              <a:gd name="T60" fmla="*/ 78 w 160"/>
              <a:gd name="T61" fmla="*/ 14 h 117"/>
              <a:gd name="T62" fmla="*/ 97 w 160"/>
              <a:gd name="T63" fmla="*/ 6 h 117"/>
              <a:gd name="T64" fmla="*/ 114 w 160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03" name="Freeform 355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04" name="Freeform 356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>
              <a:gd name="T0" fmla="*/ 98 w 556"/>
              <a:gd name="T1" fmla="*/ 62 h 819"/>
              <a:gd name="T2" fmla="*/ 112 w 556"/>
              <a:gd name="T3" fmla="*/ 56 h 819"/>
              <a:gd name="T4" fmla="*/ 129 w 556"/>
              <a:gd name="T5" fmla="*/ 69 h 819"/>
              <a:gd name="T6" fmla="*/ 149 w 556"/>
              <a:gd name="T7" fmla="*/ 85 h 819"/>
              <a:gd name="T8" fmla="*/ 171 w 556"/>
              <a:gd name="T9" fmla="*/ 92 h 819"/>
              <a:gd name="T10" fmla="*/ 215 w 556"/>
              <a:gd name="T11" fmla="*/ 88 h 819"/>
              <a:gd name="T12" fmla="*/ 257 w 556"/>
              <a:gd name="T13" fmla="*/ 82 h 819"/>
              <a:gd name="T14" fmla="*/ 291 w 556"/>
              <a:gd name="T15" fmla="*/ 79 h 819"/>
              <a:gd name="T16" fmla="*/ 301 w 556"/>
              <a:gd name="T17" fmla="*/ 74 h 819"/>
              <a:gd name="T18" fmla="*/ 301 w 556"/>
              <a:gd name="T19" fmla="*/ 68 h 819"/>
              <a:gd name="T20" fmla="*/ 355 w 556"/>
              <a:gd name="T21" fmla="*/ 63 h 819"/>
              <a:gd name="T22" fmla="*/ 434 w 556"/>
              <a:gd name="T23" fmla="*/ 45 h 819"/>
              <a:gd name="T24" fmla="*/ 479 w 556"/>
              <a:gd name="T25" fmla="*/ 28 h 819"/>
              <a:gd name="T26" fmla="*/ 514 w 556"/>
              <a:gd name="T27" fmla="*/ 8 h 819"/>
              <a:gd name="T28" fmla="*/ 547 w 556"/>
              <a:gd name="T29" fmla="*/ 31 h 819"/>
              <a:gd name="T30" fmla="*/ 555 w 556"/>
              <a:gd name="T31" fmla="*/ 57 h 819"/>
              <a:gd name="T32" fmla="*/ 552 w 556"/>
              <a:gd name="T33" fmla="*/ 113 h 819"/>
              <a:gd name="T34" fmla="*/ 532 w 556"/>
              <a:gd name="T35" fmla="*/ 174 h 819"/>
              <a:gd name="T36" fmla="*/ 502 w 556"/>
              <a:gd name="T37" fmla="*/ 231 h 819"/>
              <a:gd name="T38" fmla="*/ 447 w 556"/>
              <a:gd name="T39" fmla="*/ 321 h 819"/>
              <a:gd name="T40" fmla="*/ 423 w 556"/>
              <a:gd name="T41" fmla="*/ 375 h 819"/>
              <a:gd name="T42" fmla="*/ 410 w 556"/>
              <a:gd name="T43" fmla="*/ 415 h 819"/>
              <a:gd name="T44" fmla="*/ 379 w 556"/>
              <a:gd name="T45" fmla="*/ 473 h 819"/>
              <a:gd name="T46" fmla="*/ 330 w 556"/>
              <a:gd name="T47" fmla="*/ 531 h 819"/>
              <a:gd name="T48" fmla="*/ 288 w 556"/>
              <a:gd name="T49" fmla="*/ 566 h 819"/>
              <a:gd name="T50" fmla="*/ 239 w 556"/>
              <a:gd name="T51" fmla="*/ 600 h 819"/>
              <a:gd name="T52" fmla="*/ 168 w 556"/>
              <a:gd name="T53" fmla="*/ 651 h 819"/>
              <a:gd name="T54" fmla="*/ 143 w 556"/>
              <a:gd name="T55" fmla="*/ 680 h 819"/>
              <a:gd name="T56" fmla="*/ 131 w 556"/>
              <a:gd name="T57" fmla="*/ 700 h 819"/>
              <a:gd name="T58" fmla="*/ 116 w 556"/>
              <a:gd name="T59" fmla="*/ 717 h 819"/>
              <a:gd name="T60" fmla="*/ 71 w 556"/>
              <a:gd name="T61" fmla="*/ 745 h 819"/>
              <a:gd name="T62" fmla="*/ 19 w 556"/>
              <a:gd name="T63" fmla="*/ 801 h 819"/>
              <a:gd name="T64" fmla="*/ 2 w 556"/>
              <a:gd name="T65" fmla="*/ 564 h 819"/>
              <a:gd name="T66" fmla="*/ 3 w 556"/>
              <a:gd name="T67" fmla="*/ 554 h 819"/>
              <a:gd name="T68" fmla="*/ 27 w 556"/>
              <a:gd name="T69" fmla="*/ 533 h 819"/>
              <a:gd name="T70" fmla="*/ 42 w 556"/>
              <a:gd name="T71" fmla="*/ 516 h 819"/>
              <a:gd name="T72" fmla="*/ 60 w 556"/>
              <a:gd name="T73" fmla="*/ 497 h 819"/>
              <a:gd name="T74" fmla="*/ 111 w 556"/>
              <a:gd name="T75" fmla="*/ 480 h 819"/>
              <a:gd name="T76" fmla="*/ 119 w 556"/>
              <a:gd name="T77" fmla="*/ 470 h 819"/>
              <a:gd name="T78" fmla="*/ 129 w 556"/>
              <a:gd name="T79" fmla="*/ 452 h 819"/>
              <a:gd name="T80" fmla="*/ 152 w 556"/>
              <a:gd name="T81" fmla="*/ 440 h 819"/>
              <a:gd name="T82" fmla="*/ 174 w 556"/>
              <a:gd name="T83" fmla="*/ 439 h 819"/>
              <a:gd name="T84" fmla="*/ 196 w 556"/>
              <a:gd name="T85" fmla="*/ 439 h 819"/>
              <a:gd name="T86" fmla="*/ 228 w 556"/>
              <a:gd name="T87" fmla="*/ 429 h 819"/>
              <a:gd name="T88" fmla="*/ 251 w 556"/>
              <a:gd name="T89" fmla="*/ 405 h 819"/>
              <a:gd name="T90" fmla="*/ 265 w 556"/>
              <a:gd name="T91" fmla="*/ 379 h 819"/>
              <a:gd name="T92" fmla="*/ 296 w 556"/>
              <a:gd name="T93" fmla="*/ 347 h 819"/>
              <a:gd name="T94" fmla="*/ 354 w 556"/>
              <a:gd name="T95" fmla="*/ 293 h 819"/>
              <a:gd name="T96" fmla="*/ 377 w 556"/>
              <a:gd name="T97" fmla="*/ 266 h 819"/>
              <a:gd name="T98" fmla="*/ 324 w 556"/>
              <a:gd name="T99" fmla="*/ 246 h 819"/>
              <a:gd name="T100" fmla="*/ 257 w 556"/>
              <a:gd name="T101" fmla="*/ 228 h 819"/>
              <a:gd name="T102" fmla="*/ 184 w 556"/>
              <a:gd name="T103" fmla="*/ 209 h 819"/>
              <a:gd name="T104" fmla="*/ 149 w 556"/>
              <a:gd name="T105" fmla="*/ 187 h 819"/>
              <a:gd name="T106" fmla="*/ 112 w 556"/>
              <a:gd name="T107" fmla="*/ 154 h 819"/>
              <a:gd name="T108" fmla="*/ 89 w 556"/>
              <a:gd name="T109" fmla="*/ 121 h 819"/>
              <a:gd name="T110" fmla="*/ 77 w 556"/>
              <a:gd name="T111" fmla="*/ 80 h 819"/>
              <a:gd name="T112" fmla="*/ 65 w 556"/>
              <a:gd name="T113" fmla="*/ 87 h 819"/>
              <a:gd name="T114" fmla="*/ 84 w 556"/>
              <a:gd name="T115" fmla="*/ 68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05" name="Freeform 357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>
              <a:gd name="T0" fmla="*/ 59 w 86"/>
              <a:gd name="T1" fmla="*/ 0 h 97"/>
              <a:gd name="T2" fmla="*/ 56 w 86"/>
              <a:gd name="T3" fmla="*/ 2 h 97"/>
              <a:gd name="T4" fmla="*/ 52 w 86"/>
              <a:gd name="T5" fmla="*/ 3 h 97"/>
              <a:gd name="T6" fmla="*/ 46 w 86"/>
              <a:gd name="T7" fmla="*/ 3 h 97"/>
              <a:gd name="T8" fmla="*/ 40 w 86"/>
              <a:gd name="T9" fmla="*/ 3 h 97"/>
              <a:gd name="T10" fmla="*/ 33 w 86"/>
              <a:gd name="T11" fmla="*/ 3 h 97"/>
              <a:gd name="T12" fmla="*/ 27 w 86"/>
              <a:gd name="T13" fmla="*/ 3 h 97"/>
              <a:gd name="T14" fmla="*/ 23 w 86"/>
              <a:gd name="T15" fmla="*/ 4 h 97"/>
              <a:gd name="T16" fmla="*/ 20 w 86"/>
              <a:gd name="T17" fmla="*/ 6 h 97"/>
              <a:gd name="T18" fmla="*/ 16 w 86"/>
              <a:gd name="T19" fmla="*/ 9 h 97"/>
              <a:gd name="T20" fmla="*/ 13 w 86"/>
              <a:gd name="T21" fmla="*/ 12 h 97"/>
              <a:gd name="T22" fmla="*/ 11 w 86"/>
              <a:gd name="T23" fmla="*/ 15 h 97"/>
              <a:gd name="T24" fmla="*/ 8 w 86"/>
              <a:gd name="T25" fmla="*/ 20 h 97"/>
              <a:gd name="T26" fmla="*/ 4 w 86"/>
              <a:gd name="T27" fmla="*/ 29 h 97"/>
              <a:gd name="T28" fmla="*/ 2 w 86"/>
              <a:gd name="T29" fmla="*/ 38 h 97"/>
              <a:gd name="T30" fmla="*/ 0 w 86"/>
              <a:gd name="T31" fmla="*/ 57 h 97"/>
              <a:gd name="T32" fmla="*/ 0 w 86"/>
              <a:gd name="T33" fmla="*/ 75 h 97"/>
              <a:gd name="T34" fmla="*/ 0 w 86"/>
              <a:gd name="T35" fmla="*/ 81 h 97"/>
              <a:gd name="T36" fmla="*/ 1 w 86"/>
              <a:gd name="T37" fmla="*/ 86 h 97"/>
              <a:gd name="T38" fmla="*/ 3 w 86"/>
              <a:gd name="T39" fmla="*/ 90 h 97"/>
              <a:gd name="T40" fmla="*/ 7 w 86"/>
              <a:gd name="T41" fmla="*/ 93 h 97"/>
              <a:gd name="T42" fmla="*/ 10 w 86"/>
              <a:gd name="T43" fmla="*/ 95 h 97"/>
              <a:gd name="T44" fmla="*/ 13 w 86"/>
              <a:gd name="T45" fmla="*/ 96 h 97"/>
              <a:gd name="T46" fmla="*/ 18 w 86"/>
              <a:gd name="T47" fmla="*/ 97 h 97"/>
              <a:gd name="T48" fmla="*/ 21 w 86"/>
              <a:gd name="T49" fmla="*/ 97 h 97"/>
              <a:gd name="T50" fmla="*/ 40 w 86"/>
              <a:gd name="T51" fmla="*/ 95 h 97"/>
              <a:gd name="T52" fmla="*/ 53 w 86"/>
              <a:gd name="T53" fmla="*/ 93 h 97"/>
              <a:gd name="T54" fmla="*/ 86 w 86"/>
              <a:gd name="T55" fmla="*/ 68 h 97"/>
              <a:gd name="T56" fmla="*/ 59 w 86"/>
              <a:gd name="T57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06" name="Freeform 358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>
              <a:gd name="T0" fmla="*/ 182 w 845"/>
              <a:gd name="T1" fmla="*/ 36 h 720"/>
              <a:gd name="T2" fmla="*/ 205 w 845"/>
              <a:gd name="T3" fmla="*/ 28 h 720"/>
              <a:gd name="T4" fmla="*/ 247 w 845"/>
              <a:gd name="T5" fmla="*/ 0 h 720"/>
              <a:gd name="T6" fmla="*/ 273 w 845"/>
              <a:gd name="T7" fmla="*/ 12 h 720"/>
              <a:gd name="T8" fmla="*/ 327 w 845"/>
              <a:gd name="T9" fmla="*/ 37 h 720"/>
              <a:gd name="T10" fmla="*/ 380 w 845"/>
              <a:gd name="T11" fmla="*/ 67 h 720"/>
              <a:gd name="T12" fmla="*/ 426 w 845"/>
              <a:gd name="T13" fmla="*/ 98 h 720"/>
              <a:gd name="T14" fmla="*/ 442 w 845"/>
              <a:gd name="T15" fmla="*/ 125 h 720"/>
              <a:gd name="T16" fmla="*/ 443 w 845"/>
              <a:gd name="T17" fmla="*/ 140 h 720"/>
              <a:gd name="T18" fmla="*/ 458 w 845"/>
              <a:gd name="T19" fmla="*/ 147 h 720"/>
              <a:gd name="T20" fmla="*/ 499 w 845"/>
              <a:gd name="T21" fmla="*/ 178 h 720"/>
              <a:gd name="T22" fmla="*/ 506 w 845"/>
              <a:gd name="T23" fmla="*/ 172 h 720"/>
              <a:gd name="T24" fmla="*/ 488 w 845"/>
              <a:gd name="T25" fmla="*/ 184 h 720"/>
              <a:gd name="T26" fmla="*/ 481 w 845"/>
              <a:gd name="T27" fmla="*/ 202 h 720"/>
              <a:gd name="T28" fmla="*/ 481 w 845"/>
              <a:gd name="T29" fmla="*/ 252 h 720"/>
              <a:gd name="T30" fmla="*/ 493 w 845"/>
              <a:gd name="T31" fmla="*/ 264 h 720"/>
              <a:gd name="T32" fmla="*/ 526 w 845"/>
              <a:gd name="T33" fmla="*/ 265 h 720"/>
              <a:gd name="T34" fmla="*/ 545 w 845"/>
              <a:gd name="T35" fmla="*/ 319 h 720"/>
              <a:gd name="T36" fmla="*/ 583 w 845"/>
              <a:gd name="T37" fmla="*/ 361 h 720"/>
              <a:gd name="T38" fmla="*/ 645 w 845"/>
              <a:gd name="T39" fmla="*/ 400 h 720"/>
              <a:gd name="T40" fmla="*/ 738 w 845"/>
              <a:gd name="T41" fmla="*/ 430 h 720"/>
              <a:gd name="T42" fmla="*/ 845 w 845"/>
              <a:gd name="T43" fmla="*/ 449 h 720"/>
              <a:gd name="T44" fmla="*/ 811 w 845"/>
              <a:gd name="T45" fmla="*/ 482 h 720"/>
              <a:gd name="T46" fmla="*/ 731 w 845"/>
              <a:gd name="T47" fmla="*/ 547 h 720"/>
              <a:gd name="T48" fmla="*/ 712 w 845"/>
              <a:gd name="T49" fmla="*/ 579 h 720"/>
              <a:gd name="T50" fmla="*/ 697 w 845"/>
              <a:gd name="T51" fmla="*/ 617 h 720"/>
              <a:gd name="T52" fmla="*/ 674 w 845"/>
              <a:gd name="T53" fmla="*/ 629 h 720"/>
              <a:gd name="T54" fmla="*/ 580 w 845"/>
              <a:gd name="T55" fmla="*/ 655 h 720"/>
              <a:gd name="T56" fmla="*/ 559 w 845"/>
              <a:gd name="T57" fmla="*/ 671 h 720"/>
              <a:gd name="T58" fmla="*/ 525 w 845"/>
              <a:gd name="T59" fmla="*/ 681 h 720"/>
              <a:gd name="T60" fmla="*/ 482 w 845"/>
              <a:gd name="T61" fmla="*/ 693 h 720"/>
              <a:gd name="T62" fmla="*/ 461 w 845"/>
              <a:gd name="T63" fmla="*/ 680 h 720"/>
              <a:gd name="T64" fmla="*/ 427 w 845"/>
              <a:gd name="T65" fmla="*/ 679 h 720"/>
              <a:gd name="T66" fmla="*/ 405 w 845"/>
              <a:gd name="T67" fmla="*/ 699 h 720"/>
              <a:gd name="T68" fmla="*/ 390 w 845"/>
              <a:gd name="T69" fmla="*/ 714 h 720"/>
              <a:gd name="T70" fmla="*/ 360 w 845"/>
              <a:gd name="T71" fmla="*/ 720 h 720"/>
              <a:gd name="T72" fmla="*/ 318 w 845"/>
              <a:gd name="T73" fmla="*/ 714 h 720"/>
              <a:gd name="T74" fmla="*/ 289 w 845"/>
              <a:gd name="T75" fmla="*/ 698 h 720"/>
              <a:gd name="T76" fmla="*/ 246 w 845"/>
              <a:gd name="T77" fmla="*/ 671 h 720"/>
              <a:gd name="T78" fmla="*/ 181 w 845"/>
              <a:gd name="T79" fmla="*/ 661 h 720"/>
              <a:gd name="T80" fmla="*/ 140 w 845"/>
              <a:gd name="T81" fmla="*/ 653 h 720"/>
              <a:gd name="T82" fmla="*/ 151 w 845"/>
              <a:gd name="T83" fmla="*/ 614 h 720"/>
              <a:gd name="T84" fmla="*/ 127 w 845"/>
              <a:gd name="T85" fmla="*/ 596 h 720"/>
              <a:gd name="T86" fmla="*/ 108 w 845"/>
              <a:gd name="T87" fmla="*/ 583 h 720"/>
              <a:gd name="T88" fmla="*/ 93 w 845"/>
              <a:gd name="T89" fmla="*/ 551 h 720"/>
              <a:gd name="T90" fmla="*/ 77 w 845"/>
              <a:gd name="T91" fmla="*/ 511 h 720"/>
              <a:gd name="T92" fmla="*/ 49 w 845"/>
              <a:gd name="T93" fmla="*/ 489 h 720"/>
              <a:gd name="T94" fmla="*/ 16 w 845"/>
              <a:gd name="T95" fmla="*/ 477 h 720"/>
              <a:gd name="T96" fmla="*/ 5 w 845"/>
              <a:gd name="T97" fmla="*/ 472 h 720"/>
              <a:gd name="T98" fmla="*/ 2 w 845"/>
              <a:gd name="T99" fmla="*/ 448 h 720"/>
              <a:gd name="T100" fmla="*/ 21 w 845"/>
              <a:gd name="T101" fmla="*/ 422 h 720"/>
              <a:gd name="T102" fmla="*/ 55 w 845"/>
              <a:gd name="T103" fmla="*/ 413 h 720"/>
              <a:gd name="T104" fmla="*/ 67 w 845"/>
              <a:gd name="T105" fmla="*/ 321 h 720"/>
              <a:gd name="T106" fmla="*/ 82 w 845"/>
              <a:gd name="T107" fmla="*/ 275 h 720"/>
              <a:gd name="T108" fmla="*/ 95 w 845"/>
              <a:gd name="T109" fmla="*/ 260 h 720"/>
              <a:gd name="T110" fmla="*/ 103 w 845"/>
              <a:gd name="T111" fmla="*/ 236 h 720"/>
              <a:gd name="T112" fmla="*/ 116 w 845"/>
              <a:gd name="T113" fmla="*/ 206 h 720"/>
              <a:gd name="T114" fmla="*/ 148 w 845"/>
              <a:gd name="T115" fmla="*/ 178 h 720"/>
              <a:gd name="T116" fmla="*/ 167 w 845"/>
              <a:gd name="T117" fmla="*/ 16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07" name="Line 359"/>
          <p:cNvSpPr>
            <a:spLocks noChangeShapeType="1"/>
          </p:cNvSpPr>
          <p:nvPr>
            <p:custDataLst>
              <p:tags r:id="rId259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08" name="Freeform 360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7 w 33"/>
              <a:gd name="T3" fmla="*/ 1 h 6"/>
              <a:gd name="T4" fmla="*/ 15 w 33"/>
              <a:gd name="T5" fmla="*/ 3 h 6"/>
              <a:gd name="T6" fmla="*/ 23 w 33"/>
              <a:gd name="T7" fmla="*/ 5 h 6"/>
              <a:gd name="T8" fmla="*/ 33 w 33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09" name="Freeform 361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>
              <a:gd name="T0" fmla="*/ 13 w 13"/>
              <a:gd name="T1" fmla="*/ 30 h 30"/>
              <a:gd name="T2" fmla="*/ 13 w 13"/>
              <a:gd name="T3" fmla="*/ 0 h 30"/>
              <a:gd name="T4" fmla="*/ 0 w 13"/>
              <a:gd name="T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410" name="Group 362"/>
          <p:cNvGrpSpPr>
            <a:grpSpLocks/>
          </p:cNvGrpSpPr>
          <p:nvPr>
            <p:custDataLst>
              <p:tags r:id="rId262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</p:grpSpPr>
        <p:sp>
          <p:nvSpPr>
            <p:cNvPr id="241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12 w 352"/>
                <a:gd name="T1" fmla="*/ 79 h 387"/>
                <a:gd name="T2" fmla="*/ 286 w 352"/>
                <a:gd name="T3" fmla="*/ 79 h 387"/>
                <a:gd name="T4" fmla="*/ 265 w 352"/>
                <a:gd name="T5" fmla="*/ 79 h 387"/>
                <a:gd name="T6" fmla="*/ 249 w 352"/>
                <a:gd name="T7" fmla="*/ 74 h 387"/>
                <a:gd name="T8" fmla="*/ 222 w 352"/>
                <a:gd name="T9" fmla="*/ 59 h 387"/>
                <a:gd name="T10" fmla="*/ 168 w 352"/>
                <a:gd name="T11" fmla="*/ 20 h 387"/>
                <a:gd name="T12" fmla="*/ 137 w 352"/>
                <a:gd name="T13" fmla="*/ 6 h 387"/>
                <a:gd name="T14" fmla="*/ 129 w 352"/>
                <a:gd name="T15" fmla="*/ 19 h 387"/>
                <a:gd name="T16" fmla="*/ 119 w 352"/>
                <a:gd name="T17" fmla="*/ 29 h 387"/>
                <a:gd name="T18" fmla="*/ 107 w 352"/>
                <a:gd name="T19" fmla="*/ 35 h 387"/>
                <a:gd name="T20" fmla="*/ 86 w 352"/>
                <a:gd name="T21" fmla="*/ 56 h 387"/>
                <a:gd name="T22" fmla="*/ 53 w 352"/>
                <a:gd name="T23" fmla="*/ 97 h 387"/>
                <a:gd name="T24" fmla="*/ 30 w 352"/>
                <a:gd name="T25" fmla="*/ 131 h 387"/>
                <a:gd name="T26" fmla="*/ 17 w 352"/>
                <a:gd name="T27" fmla="*/ 154 h 387"/>
                <a:gd name="T28" fmla="*/ 7 w 352"/>
                <a:gd name="T29" fmla="*/ 177 h 387"/>
                <a:gd name="T30" fmla="*/ 0 w 352"/>
                <a:gd name="T31" fmla="*/ 198 h 387"/>
                <a:gd name="T32" fmla="*/ 0 w 352"/>
                <a:gd name="T33" fmla="*/ 213 h 387"/>
                <a:gd name="T34" fmla="*/ 3 w 352"/>
                <a:gd name="T35" fmla="*/ 222 h 387"/>
                <a:gd name="T36" fmla="*/ 9 w 352"/>
                <a:gd name="T37" fmla="*/ 231 h 387"/>
                <a:gd name="T38" fmla="*/ 24 w 352"/>
                <a:gd name="T39" fmla="*/ 241 h 387"/>
                <a:gd name="T40" fmla="*/ 39 w 352"/>
                <a:gd name="T41" fmla="*/ 245 h 387"/>
                <a:gd name="T42" fmla="*/ 52 w 352"/>
                <a:gd name="T43" fmla="*/ 245 h 387"/>
                <a:gd name="T44" fmla="*/ 63 w 352"/>
                <a:gd name="T45" fmla="*/ 241 h 387"/>
                <a:gd name="T46" fmla="*/ 73 w 352"/>
                <a:gd name="T47" fmla="*/ 236 h 387"/>
                <a:gd name="T48" fmla="*/ 78 w 352"/>
                <a:gd name="T49" fmla="*/ 236 h 387"/>
                <a:gd name="T50" fmla="*/ 80 w 352"/>
                <a:gd name="T51" fmla="*/ 238 h 387"/>
                <a:gd name="T52" fmla="*/ 80 w 352"/>
                <a:gd name="T53" fmla="*/ 257 h 387"/>
                <a:gd name="T54" fmla="*/ 76 w 352"/>
                <a:gd name="T55" fmla="*/ 279 h 387"/>
                <a:gd name="T56" fmla="*/ 71 w 352"/>
                <a:gd name="T57" fmla="*/ 290 h 387"/>
                <a:gd name="T58" fmla="*/ 73 w 352"/>
                <a:gd name="T59" fmla="*/ 307 h 387"/>
                <a:gd name="T60" fmla="*/ 80 w 352"/>
                <a:gd name="T61" fmla="*/ 331 h 387"/>
                <a:gd name="T62" fmla="*/ 89 w 352"/>
                <a:gd name="T63" fmla="*/ 351 h 387"/>
                <a:gd name="T64" fmla="*/ 122 w 352"/>
                <a:gd name="T65" fmla="*/ 373 h 387"/>
                <a:gd name="T66" fmla="*/ 142 w 352"/>
                <a:gd name="T67" fmla="*/ 385 h 387"/>
                <a:gd name="T68" fmla="*/ 152 w 352"/>
                <a:gd name="T69" fmla="*/ 386 h 387"/>
                <a:gd name="T70" fmla="*/ 163 w 352"/>
                <a:gd name="T71" fmla="*/ 377 h 387"/>
                <a:gd name="T72" fmla="*/ 173 w 352"/>
                <a:gd name="T73" fmla="*/ 363 h 387"/>
                <a:gd name="T74" fmla="*/ 178 w 352"/>
                <a:gd name="T75" fmla="*/ 350 h 387"/>
                <a:gd name="T76" fmla="*/ 181 w 352"/>
                <a:gd name="T77" fmla="*/ 338 h 387"/>
                <a:gd name="T78" fmla="*/ 184 w 352"/>
                <a:gd name="T79" fmla="*/ 323 h 387"/>
                <a:gd name="T80" fmla="*/ 195 w 352"/>
                <a:gd name="T81" fmla="*/ 304 h 387"/>
                <a:gd name="T82" fmla="*/ 216 w 352"/>
                <a:gd name="T83" fmla="*/ 281 h 387"/>
                <a:gd name="T84" fmla="*/ 238 w 352"/>
                <a:gd name="T85" fmla="*/ 263 h 387"/>
                <a:gd name="T86" fmla="*/ 264 w 352"/>
                <a:gd name="T87" fmla="*/ 249 h 387"/>
                <a:gd name="T88" fmla="*/ 300 w 352"/>
                <a:gd name="T89" fmla="*/ 229 h 387"/>
                <a:gd name="T90" fmla="*/ 324 w 352"/>
                <a:gd name="T91" fmla="*/ 212 h 387"/>
                <a:gd name="T92" fmla="*/ 338 w 352"/>
                <a:gd name="T93" fmla="*/ 199 h 387"/>
                <a:gd name="T94" fmla="*/ 346 w 352"/>
                <a:gd name="T95" fmla="*/ 185 h 387"/>
                <a:gd name="T96" fmla="*/ 352 w 352"/>
                <a:gd name="T97" fmla="*/ 169 h 387"/>
                <a:gd name="T98" fmla="*/ 351 w 352"/>
                <a:gd name="T99" fmla="*/ 149 h 387"/>
                <a:gd name="T100" fmla="*/ 344 w 352"/>
                <a:gd name="T101" fmla="*/ 125 h 387"/>
                <a:gd name="T102" fmla="*/ 330 w 352"/>
                <a:gd name="T103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1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14 w 52"/>
                <a:gd name="T1" fmla="*/ 0 h 78"/>
                <a:gd name="T2" fmla="*/ 20 w 52"/>
                <a:gd name="T3" fmla="*/ 0 h 78"/>
                <a:gd name="T4" fmla="*/ 25 w 52"/>
                <a:gd name="T5" fmla="*/ 2 h 78"/>
                <a:gd name="T6" fmla="*/ 30 w 52"/>
                <a:gd name="T7" fmla="*/ 6 h 78"/>
                <a:gd name="T8" fmla="*/ 36 w 52"/>
                <a:gd name="T9" fmla="*/ 9 h 78"/>
                <a:gd name="T10" fmla="*/ 40 w 52"/>
                <a:gd name="T11" fmla="*/ 13 h 78"/>
                <a:gd name="T12" fmla="*/ 45 w 52"/>
                <a:gd name="T13" fmla="*/ 17 h 78"/>
                <a:gd name="T14" fmla="*/ 47 w 52"/>
                <a:gd name="T15" fmla="*/ 21 h 78"/>
                <a:gd name="T16" fmla="*/ 48 w 52"/>
                <a:gd name="T17" fmla="*/ 24 h 78"/>
                <a:gd name="T18" fmla="*/ 51 w 52"/>
                <a:gd name="T19" fmla="*/ 34 h 78"/>
                <a:gd name="T20" fmla="*/ 52 w 52"/>
                <a:gd name="T21" fmla="*/ 41 h 78"/>
                <a:gd name="T22" fmla="*/ 51 w 52"/>
                <a:gd name="T23" fmla="*/ 46 h 78"/>
                <a:gd name="T24" fmla="*/ 49 w 52"/>
                <a:gd name="T25" fmla="*/ 50 h 78"/>
                <a:gd name="T26" fmla="*/ 47 w 52"/>
                <a:gd name="T27" fmla="*/ 54 h 78"/>
                <a:gd name="T28" fmla="*/ 44 w 52"/>
                <a:gd name="T29" fmla="*/ 60 h 78"/>
                <a:gd name="T30" fmla="*/ 41 w 52"/>
                <a:gd name="T31" fmla="*/ 65 h 78"/>
                <a:gd name="T32" fmla="*/ 41 w 52"/>
                <a:gd name="T33" fmla="*/ 73 h 78"/>
                <a:gd name="T34" fmla="*/ 29 w 52"/>
                <a:gd name="T35" fmla="*/ 75 h 78"/>
                <a:gd name="T36" fmla="*/ 16 w 52"/>
                <a:gd name="T37" fmla="*/ 78 h 78"/>
                <a:gd name="T38" fmla="*/ 11 w 52"/>
                <a:gd name="T39" fmla="*/ 78 h 78"/>
                <a:gd name="T40" fmla="*/ 5 w 52"/>
                <a:gd name="T41" fmla="*/ 78 h 78"/>
                <a:gd name="T42" fmla="*/ 4 w 52"/>
                <a:gd name="T43" fmla="*/ 78 h 78"/>
                <a:gd name="T44" fmla="*/ 2 w 52"/>
                <a:gd name="T45" fmla="*/ 77 h 78"/>
                <a:gd name="T46" fmla="*/ 2 w 52"/>
                <a:gd name="T47" fmla="*/ 75 h 78"/>
                <a:gd name="T48" fmla="*/ 1 w 52"/>
                <a:gd name="T49" fmla="*/ 73 h 78"/>
                <a:gd name="T50" fmla="*/ 0 w 52"/>
                <a:gd name="T51" fmla="*/ 69 h 78"/>
                <a:gd name="T52" fmla="*/ 1 w 52"/>
                <a:gd name="T53" fmla="*/ 64 h 78"/>
                <a:gd name="T54" fmla="*/ 3 w 52"/>
                <a:gd name="T55" fmla="*/ 60 h 78"/>
                <a:gd name="T56" fmla="*/ 7 w 52"/>
                <a:gd name="T57" fmla="*/ 56 h 78"/>
                <a:gd name="T58" fmla="*/ 17 w 52"/>
                <a:gd name="T59" fmla="*/ 47 h 78"/>
                <a:gd name="T60" fmla="*/ 28 w 52"/>
                <a:gd name="T61" fmla="*/ 42 h 78"/>
                <a:gd name="T62" fmla="*/ 24 w 52"/>
                <a:gd name="T63" fmla="*/ 32 h 78"/>
                <a:gd name="T64" fmla="*/ 21 w 52"/>
                <a:gd name="T65" fmla="*/ 21 h 78"/>
                <a:gd name="T66" fmla="*/ 18 w 52"/>
                <a:gd name="T67" fmla="*/ 10 h 78"/>
                <a:gd name="T68" fmla="*/ 14 w 52"/>
                <a:gd name="T6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1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3 w 33"/>
                <a:gd name="T1" fmla="*/ 6 h 30"/>
                <a:gd name="T2" fmla="*/ 0 w 33"/>
                <a:gd name="T3" fmla="*/ 24 h 30"/>
                <a:gd name="T4" fmla="*/ 7 w 33"/>
                <a:gd name="T5" fmla="*/ 25 h 30"/>
                <a:gd name="T6" fmla="*/ 15 w 33"/>
                <a:gd name="T7" fmla="*/ 27 h 30"/>
                <a:gd name="T8" fmla="*/ 23 w 33"/>
                <a:gd name="T9" fmla="*/ 29 h 30"/>
                <a:gd name="T10" fmla="*/ 33 w 33"/>
                <a:gd name="T11" fmla="*/ 30 h 30"/>
                <a:gd name="T12" fmla="*/ 33 w 33"/>
                <a:gd name="T13" fmla="*/ 0 h 30"/>
                <a:gd name="T14" fmla="*/ 20 w 33"/>
                <a:gd name="T15" fmla="*/ 0 h 30"/>
                <a:gd name="T16" fmla="*/ 13 w 33"/>
                <a:gd name="T17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414" name="Freeform 366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>
              <a:gd name="T0" fmla="*/ 13 w 47"/>
              <a:gd name="T1" fmla="*/ 0 h 28"/>
              <a:gd name="T2" fmla="*/ 25 w 47"/>
              <a:gd name="T3" fmla="*/ 0 h 28"/>
              <a:gd name="T4" fmla="*/ 31 w 47"/>
              <a:gd name="T5" fmla="*/ 2 h 28"/>
              <a:gd name="T6" fmla="*/ 33 w 47"/>
              <a:gd name="T7" fmla="*/ 4 h 28"/>
              <a:gd name="T8" fmla="*/ 33 w 47"/>
              <a:gd name="T9" fmla="*/ 6 h 28"/>
              <a:gd name="T10" fmla="*/ 32 w 47"/>
              <a:gd name="T11" fmla="*/ 8 h 28"/>
              <a:gd name="T12" fmla="*/ 33 w 47"/>
              <a:gd name="T13" fmla="*/ 10 h 28"/>
              <a:gd name="T14" fmla="*/ 37 w 47"/>
              <a:gd name="T15" fmla="*/ 12 h 28"/>
              <a:gd name="T16" fmla="*/ 47 w 47"/>
              <a:gd name="T17" fmla="*/ 12 h 28"/>
              <a:gd name="T18" fmla="*/ 42 w 47"/>
              <a:gd name="T19" fmla="*/ 19 h 28"/>
              <a:gd name="T20" fmla="*/ 37 w 47"/>
              <a:gd name="T21" fmla="*/ 25 h 28"/>
              <a:gd name="T22" fmla="*/ 33 w 47"/>
              <a:gd name="T23" fmla="*/ 27 h 28"/>
              <a:gd name="T24" fmla="*/ 28 w 47"/>
              <a:gd name="T25" fmla="*/ 28 h 28"/>
              <a:gd name="T26" fmla="*/ 16 w 47"/>
              <a:gd name="T27" fmla="*/ 27 h 28"/>
              <a:gd name="T28" fmla="*/ 0 w 47"/>
              <a:gd name="T29" fmla="*/ 25 h 28"/>
              <a:gd name="T30" fmla="*/ 1 w 47"/>
              <a:gd name="T31" fmla="*/ 19 h 28"/>
              <a:gd name="T32" fmla="*/ 2 w 47"/>
              <a:gd name="T33" fmla="*/ 15 h 28"/>
              <a:gd name="T34" fmla="*/ 4 w 47"/>
              <a:gd name="T35" fmla="*/ 13 h 28"/>
              <a:gd name="T36" fmla="*/ 6 w 47"/>
              <a:gd name="T37" fmla="*/ 12 h 28"/>
              <a:gd name="T38" fmla="*/ 9 w 47"/>
              <a:gd name="T39" fmla="*/ 11 h 28"/>
              <a:gd name="T40" fmla="*/ 11 w 47"/>
              <a:gd name="T41" fmla="*/ 9 h 28"/>
              <a:gd name="T42" fmla="*/ 13 w 47"/>
              <a:gd name="T43" fmla="*/ 5 h 28"/>
              <a:gd name="T44" fmla="*/ 13 w 47"/>
              <a:gd name="T45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15" name="Freeform 367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>
              <a:gd name="T0" fmla="*/ 13 w 53"/>
              <a:gd name="T1" fmla="*/ 0 h 33"/>
              <a:gd name="T2" fmla="*/ 26 w 53"/>
              <a:gd name="T3" fmla="*/ 1 h 33"/>
              <a:gd name="T4" fmla="*/ 34 w 53"/>
              <a:gd name="T5" fmla="*/ 1 h 33"/>
              <a:gd name="T6" fmla="*/ 37 w 53"/>
              <a:gd name="T7" fmla="*/ 3 h 33"/>
              <a:gd name="T8" fmla="*/ 37 w 53"/>
              <a:gd name="T9" fmla="*/ 4 h 33"/>
              <a:gd name="T10" fmla="*/ 37 w 53"/>
              <a:gd name="T11" fmla="*/ 6 h 33"/>
              <a:gd name="T12" fmla="*/ 39 w 53"/>
              <a:gd name="T13" fmla="*/ 8 h 33"/>
              <a:gd name="T14" fmla="*/ 44 w 53"/>
              <a:gd name="T15" fmla="*/ 10 h 33"/>
              <a:gd name="T16" fmla="*/ 53 w 53"/>
              <a:gd name="T17" fmla="*/ 12 h 33"/>
              <a:gd name="T18" fmla="*/ 48 w 53"/>
              <a:gd name="T19" fmla="*/ 22 h 33"/>
              <a:gd name="T20" fmla="*/ 44 w 53"/>
              <a:gd name="T21" fmla="*/ 28 h 33"/>
              <a:gd name="T22" fmla="*/ 42 w 53"/>
              <a:gd name="T23" fmla="*/ 31 h 33"/>
              <a:gd name="T24" fmla="*/ 38 w 53"/>
              <a:gd name="T25" fmla="*/ 32 h 33"/>
              <a:gd name="T26" fmla="*/ 36 w 53"/>
              <a:gd name="T27" fmla="*/ 33 h 33"/>
              <a:gd name="T28" fmla="*/ 34 w 53"/>
              <a:gd name="T29" fmla="*/ 33 h 33"/>
              <a:gd name="T30" fmla="*/ 20 w 53"/>
              <a:gd name="T31" fmla="*/ 30 h 33"/>
              <a:gd name="T32" fmla="*/ 0 w 53"/>
              <a:gd name="T33" fmla="*/ 24 h 33"/>
              <a:gd name="T34" fmla="*/ 0 w 53"/>
              <a:gd name="T35" fmla="*/ 19 h 33"/>
              <a:gd name="T36" fmla="*/ 2 w 53"/>
              <a:gd name="T37" fmla="*/ 16 h 33"/>
              <a:gd name="T38" fmla="*/ 4 w 53"/>
              <a:gd name="T39" fmla="*/ 14 h 33"/>
              <a:gd name="T40" fmla="*/ 7 w 53"/>
              <a:gd name="T41" fmla="*/ 12 h 33"/>
              <a:gd name="T42" fmla="*/ 9 w 53"/>
              <a:gd name="T43" fmla="*/ 11 h 33"/>
              <a:gd name="T44" fmla="*/ 11 w 53"/>
              <a:gd name="T45" fmla="*/ 9 h 33"/>
              <a:gd name="T46" fmla="*/ 12 w 53"/>
              <a:gd name="T47" fmla="*/ 6 h 33"/>
              <a:gd name="T48" fmla="*/ 13 w 53"/>
              <a:gd name="T49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416" name="Group 368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</p:grpSpPr>
        <p:sp>
          <p:nvSpPr>
            <p:cNvPr id="2417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18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19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14 w 14"/>
                <a:gd name="T1" fmla="*/ 19 h 19"/>
                <a:gd name="T2" fmla="*/ 0 w 14"/>
                <a:gd name="T3" fmla="*/ 0 h 19"/>
                <a:gd name="T4" fmla="*/ 14 w 14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20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21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0 w 20"/>
                <a:gd name="T1" fmla="*/ 12 h 12"/>
                <a:gd name="T2" fmla="*/ 10 w 20"/>
                <a:gd name="T3" fmla="*/ 9 h 12"/>
                <a:gd name="T4" fmla="*/ 0 w 20"/>
                <a:gd name="T5" fmla="*/ 6 h 12"/>
                <a:gd name="T6" fmla="*/ 1 w 20"/>
                <a:gd name="T7" fmla="*/ 5 h 12"/>
                <a:gd name="T8" fmla="*/ 3 w 20"/>
                <a:gd name="T9" fmla="*/ 3 h 12"/>
                <a:gd name="T10" fmla="*/ 8 w 20"/>
                <a:gd name="T11" fmla="*/ 1 h 12"/>
                <a:gd name="T12" fmla="*/ 13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22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23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24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7 w 7"/>
                <a:gd name="T1" fmla="*/ 12 h 12"/>
                <a:gd name="T2" fmla="*/ 4 w 7"/>
                <a:gd name="T3" fmla="*/ 6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25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  <a:gd name="T6" fmla="*/ 17 w 20"/>
                <a:gd name="T7" fmla="*/ 12 h 18"/>
                <a:gd name="T8" fmla="*/ 13 w 20"/>
                <a:gd name="T9" fmla="*/ 6 h 18"/>
                <a:gd name="T10" fmla="*/ 0 w 20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26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  <a:gd name="T10" fmla="*/ 0 w 7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27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  <a:gd name="T14" fmla="*/ 6 w 13"/>
                <a:gd name="T15" fmla="*/ 6 h 18"/>
                <a:gd name="T16" fmla="*/ 13 w 13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428" name="Freeform 380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>
              <a:gd name="T0" fmla="*/ 60 w 736"/>
              <a:gd name="T1" fmla="*/ 685 h 721"/>
              <a:gd name="T2" fmla="*/ 91 w 736"/>
              <a:gd name="T3" fmla="*/ 668 h 721"/>
              <a:gd name="T4" fmla="*/ 126 w 736"/>
              <a:gd name="T5" fmla="*/ 668 h 721"/>
              <a:gd name="T6" fmla="*/ 196 w 736"/>
              <a:gd name="T7" fmla="*/ 692 h 721"/>
              <a:gd name="T8" fmla="*/ 245 w 736"/>
              <a:gd name="T9" fmla="*/ 705 h 721"/>
              <a:gd name="T10" fmla="*/ 292 w 736"/>
              <a:gd name="T11" fmla="*/ 703 h 721"/>
              <a:gd name="T12" fmla="*/ 611 w 736"/>
              <a:gd name="T13" fmla="*/ 717 h 721"/>
              <a:gd name="T14" fmla="*/ 651 w 736"/>
              <a:gd name="T15" fmla="*/ 707 h 721"/>
              <a:gd name="T16" fmla="*/ 627 w 736"/>
              <a:gd name="T17" fmla="*/ 657 h 721"/>
              <a:gd name="T18" fmla="*/ 664 w 736"/>
              <a:gd name="T19" fmla="*/ 433 h 721"/>
              <a:gd name="T20" fmla="*/ 709 w 736"/>
              <a:gd name="T21" fmla="*/ 429 h 721"/>
              <a:gd name="T22" fmla="*/ 723 w 736"/>
              <a:gd name="T23" fmla="*/ 416 h 721"/>
              <a:gd name="T24" fmla="*/ 734 w 736"/>
              <a:gd name="T25" fmla="*/ 360 h 721"/>
              <a:gd name="T26" fmla="*/ 722 w 736"/>
              <a:gd name="T27" fmla="*/ 302 h 721"/>
              <a:gd name="T28" fmla="*/ 708 w 736"/>
              <a:gd name="T29" fmla="*/ 304 h 721"/>
              <a:gd name="T30" fmla="*/ 676 w 736"/>
              <a:gd name="T31" fmla="*/ 300 h 721"/>
              <a:gd name="T32" fmla="*/ 634 w 736"/>
              <a:gd name="T33" fmla="*/ 299 h 721"/>
              <a:gd name="T34" fmla="*/ 623 w 736"/>
              <a:gd name="T35" fmla="*/ 290 h 721"/>
              <a:gd name="T36" fmla="*/ 617 w 736"/>
              <a:gd name="T37" fmla="*/ 253 h 721"/>
              <a:gd name="T38" fmla="*/ 607 w 736"/>
              <a:gd name="T39" fmla="*/ 219 h 721"/>
              <a:gd name="T40" fmla="*/ 597 w 736"/>
              <a:gd name="T41" fmla="*/ 186 h 721"/>
              <a:gd name="T42" fmla="*/ 607 w 736"/>
              <a:gd name="T43" fmla="*/ 167 h 721"/>
              <a:gd name="T44" fmla="*/ 617 w 736"/>
              <a:gd name="T45" fmla="*/ 148 h 721"/>
              <a:gd name="T46" fmla="*/ 611 w 736"/>
              <a:gd name="T47" fmla="*/ 100 h 721"/>
              <a:gd name="T48" fmla="*/ 544 w 736"/>
              <a:gd name="T49" fmla="*/ 70 h 721"/>
              <a:gd name="T50" fmla="*/ 477 w 736"/>
              <a:gd name="T51" fmla="*/ 66 h 721"/>
              <a:gd name="T52" fmla="*/ 471 w 736"/>
              <a:gd name="T53" fmla="*/ 81 h 721"/>
              <a:gd name="T54" fmla="*/ 463 w 736"/>
              <a:gd name="T55" fmla="*/ 101 h 721"/>
              <a:gd name="T56" fmla="*/ 440 w 736"/>
              <a:gd name="T57" fmla="*/ 122 h 721"/>
              <a:gd name="T58" fmla="*/ 392 w 736"/>
              <a:gd name="T59" fmla="*/ 130 h 721"/>
              <a:gd name="T60" fmla="*/ 364 w 736"/>
              <a:gd name="T61" fmla="*/ 115 h 721"/>
              <a:gd name="T62" fmla="*/ 339 w 736"/>
              <a:gd name="T63" fmla="*/ 82 h 721"/>
              <a:gd name="T64" fmla="*/ 319 w 736"/>
              <a:gd name="T65" fmla="*/ 39 h 721"/>
              <a:gd name="T66" fmla="*/ 312 w 736"/>
              <a:gd name="T67" fmla="*/ 0 h 721"/>
              <a:gd name="T68" fmla="*/ 30 w 736"/>
              <a:gd name="T69" fmla="*/ 15 h 721"/>
              <a:gd name="T70" fmla="*/ 47 w 736"/>
              <a:gd name="T71" fmla="*/ 29 h 721"/>
              <a:gd name="T72" fmla="*/ 75 w 736"/>
              <a:gd name="T73" fmla="*/ 75 h 721"/>
              <a:gd name="T74" fmla="*/ 102 w 736"/>
              <a:gd name="T75" fmla="*/ 130 h 721"/>
              <a:gd name="T76" fmla="*/ 103 w 736"/>
              <a:gd name="T77" fmla="*/ 171 h 721"/>
              <a:gd name="T78" fmla="*/ 93 w 736"/>
              <a:gd name="T79" fmla="*/ 203 h 721"/>
              <a:gd name="T80" fmla="*/ 96 w 736"/>
              <a:gd name="T81" fmla="*/ 229 h 721"/>
              <a:gd name="T82" fmla="*/ 119 w 736"/>
              <a:gd name="T83" fmla="*/ 272 h 721"/>
              <a:gd name="T84" fmla="*/ 131 w 736"/>
              <a:gd name="T85" fmla="*/ 307 h 721"/>
              <a:gd name="T86" fmla="*/ 127 w 736"/>
              <a:gd name="T87" fmla="*/ 352 h 721"/>
              <a:gd name="T88" fmla="*/ 106 w 736"/>
              <a:gd name="T89" fmla="*/ 403 h 721"/>
              <a:gd name="T90" fmla="*/ 77 w 736"/>
              <a:gd name="T91" fmla="*/ 446 h 721"/>
              <a:gd name="T92" fmla="*/ 41 w 736"/>
              <a:gd name="T93" fmla="*/ 477 h 721"/>
              <a:gd name="T94" fmla="*/ 25 w 736"/>
              <a:gd name="T95" fmla="*/ 591 h 721"/>
              <a:gd name="T96" fmla="*/ 11 w 736"/>
              <a:gd name="T97" fmla="*/ 627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29" name="Freeform 381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>
              <a:gd name="T0" fmla="*/ 0 w 39"/>
              <a:gd name="T1" fmla="*/ 31 h 31"/>
              <a:gd name="T2" fmla="*/ 12 w 39"/>
              <a:gd name="T3" fmla="*/ 28 h 31"/>
              <a:gd name="T4" fmla="*/ 22 w 39"/>
              <a:gd name="T5" fmla="*/ 28 h 31"/>
              <a:gd name="T6" fmla="*/ 26 w 39"/>
              <a:gd name="T7" fmla="*/ 28 h 31"/>
              <a:gd name="T8" fmla="*/ 30 w 39"/>
              <a:gd name="T9" fmla="*/ 28 h 31"/>
              <a:gd name="T10" fmla="*/ 35 w 39"/>
              <a:gd name="T11" fmla="*/ 27 h 31"/>
              <a:gd name="T12" fmla="*/ 39 w 39"/>
              <a:gd name="T13" fmla="*/ 25 h 31"/>
              <a:gd name="T14" fmla="*/ 39 w 39"/>
              <a:gd name="T15" fmla="*/ 0 h 31"/>
              <a:gd name="T16" fmla="*/ 26 w 39"/>
              <a:gd name="T17" fmla="*/ 0 h 31"/>
              <a:gd name="T18" fmla="*/ 17 w 39"/>
              <a:gd name="T19" fmla="*/ 0 h 31"/>
              <a:gd name="T20" fmla="*/ 8 w 39"/>
              <a:gd name="T21" fmla="*/ 0 h 31"/>
              <a:gd name="T22" fmla="*/ 0 w 39"/>
              <a:gd name="T23" fmla="*/ 0 h 31"/>
              <a:gd name="T24" fmla="*/ 0 w 39"/>
              <a:gd name="T2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31" name="Freeform 383"/>
          <p:cNvSpPr>
            <a:spLocks/>
          </p:cNvSpPr>
          <p:nvPr>
            <p:custDataLst>
              <p:tags r:id="rId268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432" name="Group 384"/>
          <p:cNvGrpSpPr>
            <a:grpSpLocks/>
          </p:cNvGrpSpPr>
          <p:nvPr>
            <p:custDataLst>
              <p:tags r:id="rId269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</p:grpSpPr>
        <p:sp>
          <p:nvSpPr>
            <p:cNvPr id="2433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6 w 51"/>
                <a:gd name="T1" fmla="*/ 0 h 33"/>
                <a:gd name="T2" fmla="*/ 0 w 51"/>
                <a:gd name="T3" fmla="*/ 5 h 33"/>
                <a:gd name="T4" fmla="*/ 4 w 51"/>
                <a:gd name="T5" fmla="*/ 28 h 33"/>
                <a:gd name="T6" fmla="*/ 10 w 51"/>
                <a:gd name="T7" fmla="*/ 33 h 33"/>
                <a:gd name="T8" fmla="*/ 35 w 51"/>
                <a:gd name="T9" fmla="*/ 25 h 33"/>
                <a:gd name="T10" fmla="*/ 48 w 51"/>
                <a:gd name="T11" fmla="*/ 15 h 33"/>
                <a:gd name="T12" fmla="*/ 51 w 51"/>
                <a:gd name="T13" fmla="*/ 8 h 33"/>
                <a:gd name="T14" fmla="*/ 46 w 51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34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61 w 61"/>
                <a:gd name="T1" fmla="*/ 6 h 20"/>
                <a:gd name="T2" fmla="*/ 53 w 61"/>
                <a:gd name="T3" fmla="*/ 2 h 20"/>
                <a:gd name="T4" fmla="*/ 0 w 61"/>
                <a:gd name="T5" fmla="*/ 0 h 20"/>
                <a:gd name="T6" fmla="*/ 2 w 61"/>
                <a:gd name="T7" fmla="*/ 14 h 20"/>
                <a:gd name="T8" fmla="*/ 7 w 61"/>
                <a:gd name="T9" fmla="*/ 20 h 20"/>
                <a:gd name="T10" fmla="*/ 18 w 61"/>
                <a:gd name="T11" fmla="*/ 13 h 20"/>
                <a:gd name="T12" fmla="*/ 61 w 61"/>
                <a:gd name="T13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35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2 w 15"/>
                <a:gd name="T1" fmla="*/ 0 h 36"/>
                <a:gd name="T2" fmla="*/ 0 w 15"/>
                <a:gd name="T3" fmla="*/ 20 h 36"/>
                <a:gd name="T4" fmla="*/ 0 w 15"/>
                <a:gd name="T5" fmla="*/ 36 h 36"/>
                <a:gd name="T6" fmla="*/ 11 w 15"/>
                <a:gd name="T7" fmla="*/ 35 h 36"/>
                <a:gd name="T8" fmla="*/ 15 w 15"/>
                <a:gd name="T9" fmla="*/ 14 h 36"/>
                <a:gd name="T10" fmla="*/ 2 w 15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36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4 w 37"/>
                <a:gd name="T1" fmla="*/ 4 h 33"/>
                <a:gd name="T2" fmla="*/ 22 w 37"/>
                <a:gd name="T3" fmla="*/ 0 h 33"/>
                <a:gd name="T4" fmla="*/ 35 w 37"/>
                <a:gd name="T5" fmla="*/ 6 h 33"/>
                <a:gd name="T6" fmla="*/ 37 w 37"/>
                <a:gd name="T7" fmla="*/ 22 h 33"/>
                <a:gd name="T8" fmla="*/ 24 w 37"/>
                <a:gd name="T9" fmla="*/ 33 h 33"/>
                <a:gd name="T10" fmla="*/ 11 w 37"/>
                <a:gd name="T11" fmla="*/ 33 h 33"/>
                <a:gd name="T12" fmla="*/ 2 w 37"/>
                <a:gd name="T13" fmla="*/ 24 h 33"/>
                <a:gd name="T14" fmla="*/ 0 w 37"/>
                <a:gd name="T15" fmla="*/ 16 h 33"/>
                <a:gd name="T16" fmla="*/ 4 w 37"/>
                <a:gd name="T17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37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2 w 49"/>
                <a:gd name="T1" fmla="*/ 0 h 54"/>
                <a:gd name="T2" fmla="*/ 0 w 49"/>
                <a:gd name="T3" fmla="*/ 0 h 54"/>
                <a:gd name="T4" fmla="*/ 2 w 49"/>
                <a:gd name="T5" fmla="*/ 50 h 54"/>
                <a:gd name="T6" fmla="*/ 18 w 49"/>
                <a:gd name="T7" fmla="*/ 54 h 54"/>
                <a:gd name="T8" fmla="*/ 44 w 49"/>
                <a:gd name="T9" fmla="*/ 45 h 54"/>
                <a:gd name="T10" fmla="*/ 49 w 49"/>
                <a:gd name="T11" fmla="*/ 31 h 54"/>
                <a:gd name="T12" fmla="*/ 40 w 49"/>
                <a:gd name="T13" fmla="*/ 21 h 54"/>
                <a:gd name="T14" fmla="*/ 19 w 49"/>
                <a:gd name="T15" fmla="*/ 8 h 54"/>
                <a:gd name="T16" fmla="*/ 2 w 49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38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18 w 26"/>
                <a:gd name="T1" fmla="*/ 0 h 22"/>
                <a:gd name="T2" fmla="*/ 3 w 26"/>
                <a:gd name="T3" fmla="*/ 2 h 22"/>
                <a:gd name="T4" fmla="*/ 0 w 26"/>
                <a:gd name="T5" fmla="*/ 15 h 22"/>
                <a:gd name="T6" fmla="*/ 6 w 26"/>
                <a:gd name="T7" fmla="*/ 21 h 22"/>
                <a:gd name="T8" fmla="*/ 19 w 26"/>
                <a:gd name="T9" fmla="*/ 22 h 22"/>
                <a:gd name="T10" fmla="*/ 26 w 26"/>
                <a:gd name="T11" fmla="*/ 11 h 22"/>
                <a:gd name="T12" fmla="*/ 18 w 26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grpSp>
        <p:nvGrpSpPr>
          <p:cNvPr id="2439" name="Group 391"/>
          <p:cNvGrpSpPr>
            <a:grpSpLocks/>
          </p:cNvGrpSpPr>
          <p:nvPr>
            <p:custDataLst>
              <p:tags r:id="rId270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  <a:solidFill>
            <a:schemeClr val="accent2"/>
          </a:solidFill>
        </p:grpSpPr>
        <p:sp>
          <p:nvSpPr>
            <p:cNvPr id="244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4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4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4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4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4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4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4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4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4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5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6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7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8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8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482" name="Freeform 434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>
              <a:gd name="T0" fmla="*/ 265 w 292"/>
              <a:gd name="T1" fmla="*/ 10 h 308"/>
              <a:gd name="T2" fmla="*/ 276 w 292"/>
              <a:gd name="T3" fmla="*/ 37 h 308"/>
              <a:gd name="T4" fmla="*/ 286 w 292"/>
              <a:gd name="T5" fmla="*/ 91 h 308"/>
              <a:gd name="T6" fmla="*/ 292 w 292"/>
              <a:gd name="T7" fmla="*/ 144 h 308"/>
              <a:gd name="T8" fmla="*/ 291 w 292"/>
              <a:gd name="T9" fmla="*/ 161 h 308"/>
              <a:gd name="T10" fmla="*/ 286 w 292"/>
              <a:gd name="T11" fmla="*/ 179 h 308"/>
              <a:gd name="T12" fmla="*/ 269 w 292"/>
              <a:gd name="T13" fmla="*/ 206 h 308"/>
              <a:gd name="T14" fmla="*/ 231 w 292"/>
              <a:gd name="T15" fmla="*/ 185 h 308"/>
              <a:gd name="T16" fmla="*/ 165 w 292"/>
              <a:gd name="T17" fmla="*/ 258 h 308"/>
              <a:gd name="T18" fmla="*/ 132 w 292"/>
              <a:gd name="T19" fmla="*/ 278 h 308"/>
              <a:gd name="T20" fmla="*/ 59 w 292"/>
              <a:gd name="T21" fmla="*/ 296 h 308"/>
              <a:gd name="T22" fmla="*/ 32 w 292"/>
              <a:gd name="T23" fmla="*/ 308 h 308"/>
              <a:gd name="T24" fmla="*/ 6 w 292"/>
              <a:gd name="T25" fmla="*/ 308 h 308"/>
              <a:gd name="T26" fmla="*/ 9 w 292"/>
              <a:gd name="T27" fmla="*/ 297 h 308"/>
              <a:gd name="T28" fmla="*/ 11 w 292"/>
              <a:gd name="T29" fmla="*/ 286 h 308"/>
              <a:gd name="T30" fmla="*/ 7 w 292"/>
              <a:gd name="T31" fmla="*/ 265 h 308"/>
              <a:gd name="T32" fmla="*/ 2 w 292"/>
              <a:gd name="T33" fmla="*/ 246 h 308"/>
              <a:gd name="T34" fmla="*/ 0 w 292"/>
              <a:gd name="T35" fmla="*/ 228 h 308"/>
              <a:gd name="T36" fmla="*/ 3 w 292"/>
              <a:gd name="T37" fmla="*/ 205 h 308"/>
              <a:gd name="T38" fmla="*/ 12 w 292"/>
              <a:gd name="T39" fmla="*/ 188 h 308"/>
              <a:gd name="T40" fmla="*/ 26 w 292"/>
              <a:gd name="T41" fmla="*/ 174 h 308"/>
              <a:gd name="T42" fmla="*/ 42 w 292"/>
              <a:gd name="T43" fmla="*/ 161 h 308"/>
              <a:gd name="T44" fmla="*/ 77 w 292"/>
              <a:gd name="T45" fmla="*/ 135 h 308"/>
              <a:gd name="T46" fmla="*/ 93 w 292"/>
              <a:gd name="T47" fmla="*/ 119 h 308"/>
              <a:gd name="T48" fmla="*/ 105 w 292"/>
              <a:gd name="T49" fmla="*/ 98 h 308"/>
              <a:gd name="T50" fmla="*/ 98 w 292"/>
              <a:gd name="T51" fmla="*/ 96 h 308"/>
              <a:gd name="T52" fmla="*/ 92 w 292"/>
              <a:gd name="T53" fmla="*/ 91 h 308"/>
              <a:gd name="T54" fmla="*/ 82 w 292"/>
              <a:gd name="T55" fmla="*/ 73 h 308"/>
              <a:gd name="T56" fmla="*/ 74 w 292"/>
              <a:gd name="T57" fmla="*/ 50 h 308"/>
              <a:gd name="T58" fmla="*/ 72 w 292"/>
              <a:gd name="T59" fmla="*/ 24 h 308"/>
              <a:gd name="T60" fmla="*/ 90 w 292"/>
              <a:gd name="T61" fmla="*/ 19 h 308"/>
              <a:gd name="T62" fmla="*/ 105 w 292"/>
              <a:gd name="T63" fmla="*/ 20 h 308"/>
              <a:gd name="T64" fmla="*/ 132 w 292"/>
              <a:gd name="T65" fmla="*/ 24 h 308"/>
              <a:gd name="T66" fmla="*/ 169 w 292"/>
              <a:gd name="T67" fmla="*/ 21 h 308"/>
              <a:gd name="T68" fmla="*/ 210 w 292"/>
              <a:gd name="T69" fmla="*/ 12 h 308"/>
              <a:gd name="T70" fmla="*/ 259 w 292"/>
              <a:gd name="T71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83" name="Freeform 435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>
              <a:gd name="T0" fmla="*/ 11 w 14"/>
              <a:gd name="T1" fmla="*/ 0 h 7"/>
              <a:gd name="T2" fmla="*/ 13 w 14"/>
              <a:gd name="T3" fmla="*/ 3 h 7"/>
              <a:gd name="T4" fmla="*/ 14 w 14"/>
              <a:gd name="T5" fmla="*/ 7 h 7"/>
              <a:gd name="T6" fmla="*/ 0 w 14"/>
              <a:gd name="T7" fmla="*/ 7 h 7"/>
              <a:gd name="T8" fmla="*/ 11 w 14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84" name="Freeform 436"/>
          <p:cNvSpPr>
            <a:spLocks/>
          </p:cNvSpPr>
          <p:nvPr>
            <p:custDataLst>
              <p:tags r:id="rId273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>
              <a:gd name="T0" fmla="*/ 81 w 581"/>
              <a:gd name="T1" fmla="*/ 115 h 955"/>
              <a:gd name="T2" fmla="*/ 104 w 581"/>
              <a:gd name="T3" fmla="*/ 152 h 955"/>
              <a:gd name="T4" fmla="*/ 111 w 581"/>
              <a:gd name="T5" fmla="*/ 180 h 955"/>
              <a:gd name="T6" fmla="*/ 95 w 581"/>
              <a:gd name="T7" fmla="*/ 234 h 955"/>
              <a:gd name="T8" fmla="*/ 96 w 581"/>
              <a:gd name="T9" fmla="*/ 325 h 955"/>
              <a:gd name="T10" fmla="*/ 93 w 581"/>
              <a:gd name="T11" fmla="*/ 363 h 955"/>
              <a:gd name="T12" fmla="*/ 82 w 581"/>
              <a:gd name="T13" fmla="*/ 396 h 955"/>
              <a:gd name="T14" fmla="*/ 59 w 581"/>
              <a:gd name="T15" fmla="*/ 429 h 955"/>
              <a:gd name="T16" fmla="*/ 31 w 581"/>
              <a:gd name="T17" fmla="*/ 461 h 955"/>
              <a:gd name="T18" fmla="*/ 17 w 581"/>
              <a:gd name="T19" fmla="*/ 481 h 955"/>
              <a:gd name="T20" fmla="*/ 2 w 581"/>
              <a:gd name="T21" fmla="*/ 542 h 955"/>
              <a:gd name="T22" fmla="*/ 69 w 581"/>
              <a:gd name="T23" fmla="*/ 616 h 955"/>
              <a:gd name="T24" fmla="*/ 69 w 581"/>
              <a:gd name="T25" fmla="*/ 634 h 955"/>
              <a:gd name="T26" fmla="*/ 74 w 581"/>
              <a:gd name="T27" fmla="*/ 665 h 955"/>
              <a:gd name="T28" fmla="*/ 74 w 581"/>
              <a:gd name="T29" fmla="*/ 696 h 955"/>
              <a:gd name="T30" fmla="*/ 78 w 581"/>
              <a:gd name="T31" fmla="*/ 733 h 955"/>
              <a:gd name="T32" fmla="*/ 94 w 581"/>
              <a:gd name="T33" fmla="*/ 778 h 955"/>
              <a:gd name="T34" fmla="*/ 105 w 581"/>
              <a:gd name="T35" fmla="*/ 792 h 955"/>
              <a:gd name="T36" fmla="*/ 68 w 581"/>
              <a:gd name="T37" fmla="*/ 794 h 955"/>
              <a:gd name="T38" fmla="*/ 42 w 581"/>
              <a:gd name="T39" fmla="*/ 802 h 955"/>
              <a:gd name="T40" fmla="*/ 36 w 581"/>
              <a:gd name="T41" fmla="*/ 812 h 955"/>
              <a:gd name="T42" fmla="*/ 42 w 581"/>
              <a:gd name="T43" fmla="*/ 842 h 955"/>
              <a:gd name="T44" fmla="*/ 69 w 581"/>
              <a:gd name="T45" fmla="*/ 876 h 955"/>
              <a:gd name="T46" fmla="*/ 87 w 581"/>
              <a:gd name="T47" fmla="*/ 899 h 955"/>
              <a:gd name="T48" fmla="*/ 100 w 581"/>
              <a:gd name="T49" fmla="*/ 927 h 955"/>
              <a:gd name="T50" fmla="*/ 156 w 581"/>
              <a:gd name="T51" fmla="*/ 955 h 955"/>
              <a:gd name="T52" fmla="*/ 189 w 581"/>
              <a:gd name="T53" fmla="*/ 942 h 955"/>
              <a:gd name="T54" fmla="*/ 248 w 581"/>
              <a:gd name="T55" fmla="*/ 929 h 955"/>
              <a:gd name="T56" fmla="*/ 279 w 581"/>
              <a:gd name="T57" fmla="*/ 921 h 955"/>
              <a:gd name="T58" fmla="*/ 297 w 581"/>
              <a:gd name="T59" fmla="*/ 904 h 955"/>
              <a:gd name="T60" fmla="*/ 302 w 581"/>
              <a:gd name="T61" fmla="*/ 892 h 955"/>
              <a:gd name="T62" fmla="*/ 302 w 581"/>
              <a:gd name="T63" fmla="*/ 868 h 955"/>
              <a:gd name="T64" fmla="*/ 338 w 581"/>
              <a:gd name="T65" fmla="*/ 871 h 955"/>
              <a:gd name="T66" fmla="*/ 367 w 581"/>
              <a:gd name="T67" fmla="*/ 866 h 955"/>
              <a:gd name="T68" fmla="*/ 389 w 581"/>
              <a:gd name="T69" fmla="*/ 856 h 955"/>
              <a:gd name="T70" fmla="*/ 405 w 581"/>
              <a:gd name="T71" fmla="*/ 842 h 955"/>
              <a:gd name="T72" fmla="*/ 432 w 581"/>
              <a:gd name="T73" fmla="*/ 807 h 955"/>
              <a:gd name="T74" fmla="*/ 460 w 581"/>
              <a:gd name="T75" fmla="*/ 773 h 955"/>
              <a:gd name="T76" fmla="*/ 477 w 581"/>
              <a:gd name="T77" fmla="*/ 760 h 955"/>
              <a:gd name="T78" fmla="*/ 502 w 581"/>
              <a:gd name="T79" fmla="*/ 752 h 955"/>
              <a:gd name="T80" fmla="*/ 521 w 581"/>
              <a:gd name="T81" fmla="*/ 745 h 955"/>
              <a:gd name="T82" fmla="*/ 499 w 581"/>
              <a:gd name="T83" fmla="*/ 697 h 955"/>
              <a:gd name="T84" fmla="*/ 484 w 581"/>
              <a:gd name="T85" fmla="*/ 653 h 955"/>
              <a:gd name="T86" fmla="*/ 472 w 581"/>
              <a:gd name="T87" fmla="*/ 623 h 955"/>
              <a:gd name="T88" fmla="*/ 481 w 581"/>
              <a:gd name="T89" fmla="*/ 610 h 955"/>
              <a:gd name="T90" fmla="*/ 487 w 581"/>
              <a:gd name="T91" fmla="*/ 579 h 955"/>
              <a:gd name="T92" fmla="*/ 494 w 581"/>
              <a:gd name="T93" fmla="*/ 541 h 955"/>
              <a:gd name="T94" fmla="*/ 505 w 581"/>
              <a:gd name="T95" fmla="*/ 519 h 955"/>
              <a:gd name="T96" fmla="*/ 532 w 581"/>
              <a:gd name="T97" fmla="*/ 486 h 955"/>
              <a:gd name="T98" fmla="*/ 570 w 581"/>
              <a:gd name="T99" fmla="*/ 461 h 955"/>
              <a:gd name="T100" fmla="*/ 129 w 581"/>
              <a:gd name="T101" fmla="*/ 0 h 955"/>
              <a:gd name="T102" fmla="*/ 98 w 581"/>
              <a:gd name="T103" fmla="*/ 5 h 955"/>
              <a:gd name="T104" fmla="*/ 69 w 581"/>
              <a:gd name="T105" fmla="*/ 24 h 9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85" name="Freeform 437"/>
          <p:cNvSpPr>
            <a:spLocks/>
          </p:cNvSpPr>
          <p:nvPr>
            <p:custDataLst>
              <p:tags r:id="rId274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>
              <a:gd name="T0" fmla="*/ 26 w 45"/>
              <a:gd name="T1" fmla="*/ 0 h 36"/>
              <a:gd name="T2" fmla="*/ 0 w 45"/>
              <a:gd name="T3" fmla="*/ 18 h 36"/>
              <a:gd name="T4" fmla="*/ 23 w 45"/>
              <a:gd name="T5" fmla="*/ 36 h 36"/>
              <a:gd name="T6" fmla="*/ 45 w 45"/>
              <a:gd name="T7" fmla="*/ 15 h 36"/>
              <a:gd name="T8" fmla="*/ 26 w 45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486" name="Group 438"/>
          <p:cNvGrpSpPr>
            <a:grpSpLocks/>
          </p:cNvGrpSpPr>
          <p:nvPr>
            <p:custDataLst>
              <p:tags r:id="rId275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  <a:solidFill>
            <a:schemeClr val="accent2"/>
          </a:solidFill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490" name="Freeform 442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>
              <a:gd name="T0" fmla="*/ 33 w 279"/>
              <a:gd name="T1" fmla="*/ 87 h 204"/>
              <a:gd name="T2" fmla="*/ 59 w 279"/>
              <a:gd name="T3" fmla="*/ 142 h 204"/>
              <a:gd name="T4" fmla="*/ 59 w 279"/>
              <a:gd name="T5" fmla="*/ 179 h 204"/>
              <a:gd name="T6" fmla="*/ 102 w 279"/>
              <a:gd name="T7" fmla="*/ 196 h 204"/>
              <a:gd name="T8" fmla="*/ 122 w 279"/>
              <a:gd name="T9" fmla="*/ 202 h 204"/>
              <a:gd name="T10" fmla="*/ 139 w 279"/>
              <a:gd name="T11" fmla="*/ 204 h 204"/>
              <a:gd name="T12" fmla="*/ 146 w 279"/>
              <a:gd name="T13" fmla="*/ 201 h 204"/>
              <a:gd name="T14" fmla="*/ 151 w 279"/>
              <a:gd name="T15" fmla="*/ 194 h 204"/>
              <a:gd name="T16" fmla="*/ 160 w 279"/>
              <a:gd name="T17" fmla="*/ 172 h 204"/>
              <a:gd name="T18" fmla="*/ 172 w 279"/>
              <a:gd name="T19" fmla="*/ 149 h 204"/>
              <a:gd name="T20" fmla="*/ 181 w 279"/>
              <a:gd name="T21" fmla="*/ 141 h 204"/>
              <a:gd name="T22" fmla="*/ 192 w 279"/>
              <a:gd name="T23" fmla="*/ 136 h 204"/>
              <a:gd name="T24" fmla="*/ 209 w 279"/>
              <a:gd name="T25" fmla="*/ 138 h 204"/>
              <a:gd name="T26" fmla="*/ 220 w 279"/>
              <a:gd name="T27" fmla="*/ 142 h 204"/>
              <a:gd name="T28" fmla="*/ 228 w 279"/>
              <a:gd name="T29" fmla="*/ 148 h 204"/>
              <a:gd name="T30" fmla="*/ 231 w 279"/>
              <a:gd name="T31" fmla="*/ 154 h 204"/>
              <a:gd name="T32" fmla="*/ 234 w 279"/>
              <a:gd name="T33" fmla="*/ 164 h 204"/>
              <a:gd name="T34" fmla="*/ 231 w 279"/>
              <a:gd name="T35" fmla="*/ 167 h 204"/>
              <a:gd name="T36" fmla="*/ 234 w 279"/>
              <a:gd name="T37" fmla="*/ 153 h 204"/>
              <a:gd name="T38" fmla="*/ 238 w 279"/>
              <a:gd name="T39" fmla="*/ 140 h 204"/>
              <a:gd name="T40" fmla="*/ 245 w 279"/>
              <a:gd name="T41" fmla="*/ 117 h 204"/>
              <a:gd name="T42" fmla="*/ 254 w 279"/>
              <a:gd name="T43" fmla="*/ 115 h 204"/>
              <a:gd name="T44" fmla="*/ 264 w 279"/>
              <a:gd name="T45" fmla="*/ 110 h 204"/>
              <a:gd name="T46" fmla="*/ 279 w 279"/>
              <a:gd name="T47" fmla="*/ 99 h 204"/>
              <a:gd name="T48" fmla="*/ 252 w 279"/>
              <a:gd name="T49" fmla="*/ 75 h 204"/>
              <a:gd name="T50" fmla="*/ 227 w 279"/>
              <a:gd name="T51" fmla="*/ 58 h 204"/>
              <a:gd name="T52" fmla="*/ 204 w 279"/>
              <a:gd name="T53" fmla="*/ 44 h 204"/>
              <a:gd name="T54" fmla="*/ 185 w 279"/>
              <a:gd name="T55" fmla="*/ 31 h 204"/>
              <a:gd name="T56" fmla="*/ 146 w 279"/>
              <a:gd name="T57" fmla="*/ 68 h 204"/>
              <a:gd name="T58" fmla="*/ 79 w 279"/>
              <a:gd name="T59" fmla="*/ 25 h 204"/>
              <a:gd name="T60" fmla="*/ 52 w 279"/>
              <a:gd name="T61" fmla="*/ 12 h 204"/>
              <a:gd name="T62" fmla="*/ 46 w 279"/>
              <a:gd name="T63" fmla="*/ 62 h 204"/>
              <a:gd name="T64" fmla="*/ 0 w 279"/>
              <a:gd name="T65" fmla="*/ 5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91" name="Freeform 443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>
              <a:gd name="T0" fmla="*/ 252 w 485"/>
              <a:gd name="T1" fmla="*/ 20 h 291"/>
              <a:gd name="T2" fmla="*/ 300 w 485"/>
              <a:gd name="T3" fmla="*/ 44 h 291"/>
              <a:gd name="T4" fmla="*/ 372 w 485"/>
              <a:gd name="T5" fmla="*/ 44 h 291"/>
              <a:gd name="T6" fmla="*/ 425 w 485"/>
              <a:gd name="T7" fmla="*/ 131 h 291"/>
              <a:gd name="T8" fmla="*/ 485 w 485"/>
              <a:gd name="T9" fmla="*/ 167 h 291"/>
              <a:gd name="T10" fmla="*/ 412 w 485"/>
              <a:gd name="T11" fmla="*/ 173 h 291"/>
              <a:gd name="T12" fmla="*/ 433 w 485"/>
              <a:gd name="T13" fmla="*/ 210 h 291"/>
              <a:gd name="T14" fmla="*/ 392 w 485"/>
              <a:gd name="T15" fmla="*/ 241 h 291"/>
              <a:gd name="T16" fmla="*/ 385 w 485"/>
              <a:gd name="T17" fmla="*/ 291 h 291"/>
              <a:gd name="T18" fmla="*/ 285 w 485"/>
              <a:gd name="T19" fmla="*/ 266 h 291"/>
              <a:gd name="T20" fmla="*/ 173 w 485"/>
              <a:gd name="T21" fmla="*/ 254 h 291"/>
              <a:gd name="T22" fmla="*/ 60 w 485"/>
              <a:gd name="T23" fmla="*/ 266 h 291"/>
              <a:gd name="T24" fmla="*/ 15 w 485"/>
              <a:gd name="T25" fmla="*/ 271 h 291"/>
              <a:gd name="T26" fmla="*/ 8 w 485"/>
              <a:gd name="T27" fmla="*/ 257 h 291"/>
              <a:gd name="T28" fmla="*/ 3 w 485"/>
              <a:gd name="T29" fmla="*/ 244 h 291"/>
              <a:gd name="T30" fmla="*/ 0 w 485"/>
              <a:gd name="T31" fmla="*/ 229 h 291"/>
              <a:gd name="T32" fmla="*/ 5 w 485"/>
              <a:gd name="T33" fmla="*/ 219 h 291"/>
              <a:gd name="T34" fmla="*/ 14 w 485"/>
              <a:gd name="T35" fmla="*/ 207 h 291"/>
              <a:gd name="T36" fmla="*/ 23 w 485"/>
              <a:gd name="T37" fmla="*/ 189 h 291"/>
              <a:gd name="T38" fmla="*/ 31 w 485"/>
              <a:gd name="T39" fmla="*/ 166 h 291"/>
              <a:gd name="T40" fmla="*/ 41 w 485"/>
              <a:gd name="T41" fmla="*/ 137 h 291"/>
              <a:gd name="T42" fmla="*/ 48 w 485"/>
              <a:gd name="T43" fmla="*/ 126 h 291"/>
              <a:gd name="T44" fmla="*/ 60 w 485"/>
              <a:gd name="T45" fmla="*/ 119 h 291"/>
              <a:gd name="T46" fmla="*/ 87 w 485"/>
              <a:gd name="T47" fmla="*/ 111 h 291"/>
              <a:gd name="T48" fmla="*/ 89 w 485"/>
              <a:gd name="T49" fmla="*/ 106 h 291"/>
              <a:gd name="T50" fmla="*/ 94 w 485"/>
              <a:gd name="T51" fmla="*/ 100 h 291"/>
              <a:gd name="T52" fmla="*/ 101 w 485"/>
              <a:gd name="T53" fmla="*/ 95 h 291"/>
              <a:gd name="T54" fmla="*/ 106 w 485"/>
              <a:gd name="T55" fmla="*/ 93 h 291"/>
              <a:gd name="T56" fmla="*/ 106 w 485"/>
              <a:gd name="T57" fmla="*/ 76 h 291"/>
              <a:gd name="T58" fmla="*/ 109 w 485"/>
              <a:gd name="T59" fmla="*/ 70 h 291"/>
              <a:gd name="T60" fmla="*/ 113 w 485"/>
              <a:gd name="T61" fmla="*/ 67 h 291"/>
              <a:gd name="T62" fmla="*/ 122 w 485"/>
              <a:gd name="T63" fmla="*/ 69 h 291"/>
              <a:gd name="T64" fmla="*/ 128 w 485"/>
              <a:gd name="T65" fmla="*/ 69 h 291"/>
              <a:gd name="T66" fmla="*/ 132 w 485"/>
              <a:gd name="T67" fmla="*/ 66 h 291"/>
              <a:gd name="T68" fmla="*/ 134 w 485"/>
              <a:gd name="T69" fmla="*/ 56 h 291"/>
              <a:gd name="T70" fmla="*/ 139 w 485"/>
              <a:gd name="T71" fmla="*/ 44 h 291"/>
              <a:gd name="T72" fmla="*/ 144 w 485"/>
              <a:gd name="T73" fmla="*/ 39 h 291"/>
              <a:gd name="T74" fmla="*/ 213 w 485"/>
              <a:gd name="T75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92" name="Freeform 444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>
              <a:gd name="T0" fmla="*/ 86 w 186"/>
              <a:gd name="T1" fmla="*/ 147 h 166"/>
              <a:gd name="T2" fmla="*/ 83 w 186"/>
              <a:gd name="T3" fmla="*/ 136 h 166"/>
              <a:gd name="T4" fmla="*/ 78 w 186"/>
              <a:gd name="T5" fmla="*/ 127 h 166"/>
              <a:gd name="T6" fmla="*/ 74 w 186"/>
              <a:gd name="T7" fmla="*/ 118 h 166"/>
              <a:gd name="T8" fmla="*/ 70 w 186"/>
              <a:gd name="T9" fmla="*/ 110 h 166"/>
              <a:gd name="T10" fmla="*/ 60 w 186"/>
              <a:gd name="T11" fmla="*/ 95 h 166"/>
              <a:gd name="T12" fmla="*/ 49 w 186"/>
              <a:gd name="T13" fmla="*/ 82 h 166"/>
              <a:gd name="T14" fmla="*/ 37 w 186"/>
              <a:gd name="T15" fmla="*/ 70 h 166"/>
              <a:gd name="T16" fmla="*/ 25 w 186"/>
              <a:gd name="T17" fmla="*/ 56 h 166"/>
              <a:gd name="T18" fmla="*/ 13 w 186"/>
              <a:gd name="T19" fmla="*/ 38 h 166"/>
              <a:gd name="T20" fmla="*/ 0 w 186"/>
              <a:gd name="T21" fmla="*/ 18 h 166"/>
              <a:gd name="T22" fmla="*/ 0 w 186"/>
              <a:gd name="T23" fmla="*/ 0 h 166"/>
              <a:gd name="T24" fmla="*/ 7 w 186"/>
              <a:gd name="T25" fmla="*/ 2 h 166"/>
              <a:gd name="T26" fmla="*/ 14 w 186"/>
              <a:gd name="T27" fmla="*/ 3 h 166"/>
              <a:gd name="T28" fmla="*/ 20 w 186"/>
              <a:gd name="T29" fmla="*/ 4 h 166"/>
              <a:gd name="T30" fmla="*/ 27 w 186"/>
              <a:gd name="T31" fmla="*/ 4 h 166"/>
              <a:gd name="T32" fmla="*/ 33 w 186"/>
              <a:gd name="T33" fmla="*/ 4 h 166"/>
              <a:gd name="T34" fmla="*/ 40 w 186"/>
              <a:gd name="T35" fmla="*/ 3 h 166"/>
              <a:gd name="T36" fmla="*/ 47 w 186"/>
              <a:gd name="T37" fmla="*/ 2 h 166"/>
              <a:gd name="T38" fmla="*/ 53 w 186"/>
              <a:gd name="T39" fmla="*/ 0 h 166"/>
              <a:gd name="T40" fmla="*/ 140 w 186"/>
              <a:gd name="T41" fmla="*/ 12 h 166"/>
              <a:gd name="T42" fmla="*/ 186 w 186"/>
              <a:gd name="T43" fmla="*/ 91 h 166"/>
              <a:gd name="T44" fmla="*/ 171 w 186"/>
              <a:gd name="T45" fmla="*/ 112 h 166"/>
              <a:gd name="T46" fmla="*/ 155 w 186"/>
              <a:gd name="T47" fmla="*/ 129 h 166"/>
              <a:gd name="T48" fmla="*/ 149 w 186"/>
              <a:gd name="T49" fmla="*/ 137 h 166"/>
              <a:gd name="T50" fmla="*/ 144 w 186"/>
              <a:gd name="T51" fmla="*/ 145 h 166"/>
              <a:gd name="T52" fmla="*/ 142 w 186"/>
              <a:gd name="T53" fmla="*/ 150 h 166"/>
              <a:gd name="T54" fmla="*/ 141 w 186"/>
              <a:gd name="T55" fmla="*/ 156 h 166"/>
              <a:gd name="T56" fmla="*/ 140 w 186"/>
              <a:gd name="T57" fmla="*/ 161 h 166"/>
              <a:gd name="T58" fmla="*/ 140 w 186"/>
              <a:gd name="T59" fmla="*/ 166 h 166"/>
              <a:gd name="T60" fmla="*/ 86 w 186"/>
              <a:gd name="T61" fmla="*/ 14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93" name="Freeform 445"/>
          <p:cNvSpPr>
            <a:spLocks/>
          </p:cNvSpPr>
          <p:nvPr>
            <p:custDataLst>
              <p:tags r:id="rId279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>
              <a:gd name="T0" fmla="*/ 153 w 186"/>
              <a:gd name="T1" fmla="*/ 21 h 104"/>
              <a:gd name="T2" fmla="*/ 146 w 186"/>
              <a:gd name="T3" fmla="*/ 21 h 104"/>
              <a:gd name="T4" fmla="*/ 141 w 186"/>
              <a:gd name="T5" fmla="*/ 20 h 104"/>
              <a:gd name="T6" fmla="*/ 136 w 186"/>
              <a:gd name="T7" fmla="*/ 18 h 104"/>
              <a:gd name="T8" fmla="*/ 133 w 186"/>
              <a:gd name="T9" fmla="*/ 15 h 104"/>
              <a:gd name="T10" fmla="*/ 130 w 186"/>
              <a:gd name="T11" fmla="*/ 13 h 104"/>
              <a:gd name="T12" fmla="*/ 125 w 186"/>
              <a:gd name="T13" fmla="*/ 11 h 104"/>
              <a:gd name="T14" fmla="*/ 120 w 186"/>
              <a:gd name="T15" fmla="*/ 10 h 104"/>
              <a:gd name="T16" fmla="*/ 113 w 186"/>
              <a:gd name="T17" fmla="*/ 9 h 104"/>
              <a:gd name="T18" fmla="*/ 100 w 186"/>
              <a:gd name="T19" fmla="*/ 8 h 104"/>
              <a:gd name="T20" fmla="*/ 88 w 186"/>
              <a:gd name="T21" fmla="*/ 6 h 104"/>
              <a:gd name="T22" fmla="*/ 75 w 186"/>
              <a:gd name="T23" fmla="*/ 3 h 104"/>
              <a:gd name="T24" fmla="*/ 64 w 186"/>
              <a:gd name="T25" fmla="*/ 1 h 104"/>
              <a:gd name="T26" fmla="*/ 60 w 186"/>
              <a:gd name="T27" fmla="*/ 0 h 104"/>
              <a:gd name="T28" fmla="*/ 54 w 186"/>
              <a:gd name="T29" fmla="*/ 0 h 104"/>
              <a:gd name="T30" fmla="*/ 51 w 186"/>
              <a:gd name="T31" fmla="*/ 1 h 104"/>
              <a:gd name="T32" fmla="*/ 46 w 186"/>
              <a:gd name="T33" fmla="*/ 2 h 104"/>
              <a:gd name="T34" fmla="*/ 44 w 186"/>
              <a:gd name="T35" fmla="*/ 4 h 104"/>
              <a:gd name="T36" fmla="*/ 42 w 186"/>
              <a:gd name="T37" fmla="*/ 6 h 104"/>
              <a:gd name="T38" fmla="*/ 41 w 186"/>
              <a:gd name="T39" fmla="*/ 10 h 104"/>
              <a:gd name="T40" fmla="*/ 40 w 186"/>
              <a:gd name="T41" fmla="*/ 15 h 104"/>
              <a:gd name="T42" fmla="*/ 34 w 186"/>
              <a:gd name="T43" fmla="*/ 27 h 104"/>
              <a:gd name="T44" fmla="*/ 20 w 186"/>
              <a:gd name="T45" fmla="*/ 47 h 104"/>
              <a:gd name="T46" fmla="*/ 7 w 186"/>
              <a:gd name="T47" fmla="*/ 66 h 104"/>
              <a:gd name="T48" fmla="*/ 0 w 186"/>
              <a:gd name="T49" fmla="*/ 77 h 104"/>
              <a:gd name="T50" fmla="*/ 8 w 186"/>
              <a:gd name="T51" fmla="*/ 77 h 104"/>
              <a:gd name="T52" fmla="*/ 16 w 186"/>
              <a:gd name="T53" fmla="*/ 78 h 104"/>
              <a:gd name="T54" fmla="*/ 21 w 186"/>
              <a:gd name="T55" fmla="*/ 79 h 104"/>
              <a:gd name="T56" fmla="*/ 25 w 186"/>
              <a:gd name="T57" fmla="*/ 81 h 104"/>
              <a:gd name="T58" fmla="*/ 33 w 186"/>
              <a:gd name="T59" fmla="*/ 85 h 104"/>
              <a:gd name="T60" fmla="*/ 40 w 186"/>
              <a:gd name="T61" fmla="*/ 89 h 104"/>
              <a:gd name="T62" fmla="*/ 45 w 186"/>
              <a:gd name="T63" fmla="*/ 94 h 104"/>
              <a:gd name="T64" fmla="*/ 52 w 186"/>
              <a:gd name="T65" fmla="*/ 98 h 104"/>
              <a:gd name="T66" fmla="*/ 56 w 186"/>
              <a:gd name="T67" fmla="*/ 100 h 104"/>
              <a:gd name="T68" fmla="*/ 61 w 186"/>
              <a:gd name="T69" fmla="*/ 101 h 104"/>
              <a:gd name="T70" fmla="*/ 66 w 186"/>
              <a:gd name="T71" fmla="*/ 102 h 104"/>
              <a:gd name="T72" fmla="*/ 74 w 186"/>
              <a:gd name="T73" fmla="*/ 102 h 104"/>
              <a:gd name="T74" fmla="*/ 107 w 186"/>
              <a:gd name="T75" fmla="*/ 103 h 104"/>
              <a:gd name="T76" fmla="*/ 131 w 186"/>
              <a:gd name="T77" fmla="*/ 104 h 104"/>
              <a:gd name="T78" fmla="*/ 135 w 186"/>
              <a:gd name="T79" fmla="*/ 103 h 104"/>
              <a:gd name="T80" fmla="*/ 139 w 186"/>
              <a:gd name="T81" fmla="*/ 102 h 104"/>
              <a:gd name="T82" fmla="*/ 142 w 186"/>
              <a:gd name="T83" fmla="*/ 100 h 104"/>
              <a:gd name="T84" fmla="*/ 145 w 186"/>
              <a:gd name="T85" fmla="*/ 97 h 104"/>
              <a:gd name="T86" fmla="*/ 147 w 186"/>
              <a:gd name="T87" fmla="*/ 94 h 104"/>
              <a:gd name="T88" fmla="*/ 150 w 186"/>
              <a:gd name="T89" fmla="*/ 88 h 104"/>
              <a:gd name="T90" fmla="*/ 152 w 186"/>
              <a:gd name="T91" fmla="*/ 83 h 104"/>
              <a:gd name="T92" fmla="*/ 153 w 186"/>
              <a:gd name="T93" fmla="*/ 77 h 104"/>
              <a:gd name="T94" fmla="*/ 186 w 186"/>
              <a:gd name="T95" fmla="*/ 27 h 104"/>
              <a:gd name="T96" fmla="*/ 153 w 186"/>
              <a:gd name="T97" fmla="*/ 21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94" name="Freeform 446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>
              <a:gd name="T0" fmla="*/ 79 w 311"/>
              <a:gd name="T1" fmla="*/ 38 h 179"/>
              <a:gd name="T2" fmla="*/ 115 w 311"/>
              <a:gd name="T3" fmla="*/ 26 h 179"/>
              <a:gd name="T4" fmla="*/ 148 w 311"/>
              <a:gd name="T5" fmla="*/ 14 h 179"/>
              <a:gd name="T6" fmla="*/ 178 w 311"/>
              <a:gd name="T7" fmla="*/ 4 h 179"/>
              <a:gd name="T8" fmla="*/ 211 w 311"/>
              <a:gd name="T9" fmla="*/ 0 h 179"/>
              <a:gd name="T10" fmla="*/ 236 w 311"/>
              <a:gd name="T11" fmla="*/ 2 h 179"/>
              <a:gd name="T12" fmla="*/ 256 w 311"/>
              <a:gd name="T13" fmla="*/ 6 h 179"/>
              <a:gd name="T14" fmla="*/ 292 w 311"/>
              <a:gd name="T15" fmla="*/ 12 h 179"/>
              <a:gd name="T16" fmla="*/ 287 w 311"/>
              <a:gd name="T17" fmla="*/ 28 h 179"/>
              <a:gd name="T18" fmla="*/ 278 w 311"/>
              <a:gd name="T19" fmla="*/ 42 h 179"/>
              <a:gd name="T20" fmla="*/ 269 w 311"/>
              <a:gd name="T21" fmla="*/ 53 h 179"/>
              <a:gd name="T22" fmla="*/ 265 w 311"/>
              <a:gd name="T23" fmla="*/ 62 h 179"/>
              <a:gd name="T24" fmla="*/ 266 w 311"/>
              <a:gd name="T25" fmla="*/ 66 h 179"/>
              <a:gd name="T26" fmla="*/ 271 w 311"/>
              <a:gd name="T27" fmla="*/ 71 h 179"/>
              <a:gd name="T28" fmla="*/ 285 w 311"/>
              <a:gd name="T29" fmla="*/ 79 h 179"/>
              <a:gd name="T30" fmla="*/ 311 w 311"/>
              <a:gd name="T31" fmla="*/ 93 h 179"/>
              <a:gd name="T32" fmla="*/ 287 w 311"/>
              <a:gd name="T33" fmla="*/ 107 h 179"/>
              <a:gd name="T34" fmla="*/ 281 w 311"/>
              <a:gd name="T35" fmla="*/ 115 h 179"/>
              <a:gd name="T36" fmla="*/ 278 w 311"/>
              <a:gd name="T37" fmla="*/ 129 h 179"/>
              <a:gd name="T38" fmla="*/ 252 w 311"/>
              <a:gd name="T39" fmla="*/ 136 h 179"/>
              <a:gd name="T40" fmla="*/ 211 w 311"/>
              <a:gd name="T41" fmla="*/ 148 h 179"/>
              <a:gd name="T42" fmla="*/ 191 w 311"/>
              <a:gd name="T43" fmla="*/ 168 h 179"/>
              <a:gd name="T44" fmla="*/ 178 w 311"/>
              <a:gd name="T45" fmla="*/ 176 h 179"/>
              <a:gd name="T46" fmla="*/ 165 w 311"/>
              <a:gd name="T47" fmla="*/ 179 h 179"/>
              <a:gd name="T48" fmla="*/ 151 w 311"/>
              <a:gd name="T49" fmla="*/ 175 h 179"/>
              <a:gd name="T50" fmla="*/ 137 w 311"/>
              <a:gd name="T51" fmla="*/ 167 h 179"/>
              <a:gd name="T52" fmla="*/ 120 w 311"/>
              <a:gd name="T53" fmla="*/ 158 h 179"/>
              <a:gd name="T54" fmla="*/ 98 w 311"/>
              <a:gd name="T55" fmla="*/ 155 h 179"/>
              <a:gd name="T56" fmla="*/ 66 w 311"/>
              <a:gd name="T57" fmla="*/ 155 h 179"/>
              <a:gd name="T58" fmla="*/ 51 w 311"/>
              <a:gd name="T59" fmla="*/ 157 h 179"/>
              <a:gd name="T60" fmla="*/ 39 w 311"/>
              <a:gd name="T61" fmla="*/ 161 h 179"/>
              <a:gd name="T62" fmla="*/ 36 w 311"/>
              <a:gd name="T63" fmla="*/ 142 h 179"/>
              <a:gd name="T64" fmla="*/ 32 w 311"/>
              <a:gd name="T65" fmla="*/ 123 h 179"/>
              <a:gd name="T66" fmla="*/ 21 w 311"/>
              <a:gd name="T67" fmla="*/ 128 h 179"/>
              <a:gd name="T68" fmla="*/ 13 w 311"/>
              <a:gd name="T69" fmla="*/ 129 h 179"/>
              <a:gd name="T70" fmla="*/ 7 w 311"/>
              <a:gd name="T71" fmla="*/ 126 h 179"/>
              <a:gd name="T72" fmla="*/ 3 w 311"/>
              <a:gd name="T73" fmla="*/ 121 h 179"/>
              <a:gd name="T74" fmla="*/ 0 w 311"/>
              <a:gd name="T75" fmla="*/ 105 h 179"/>
              <a:gd name="T76" fmla="*/ 0 w 311"/>
              <a:gd name="T77" fmla="*/ 87 h 179"/>
              <a:gd name="T78" fmla="*/ 3 w 311"/>
              <a:gd name="T79" fmla="*/ 82 h 179"/>
              <a:gd name="T80" fmla="*/ 13 w 311"/>
              <a:gd name="T81" fmla="*/ 78 h 179"/>
              <a:gd name="T82" fmla="*/ 21 w 311"/>
              <a:gd name="T83" fmla="*/ 72 h 179"/>
              <a:gd name="T84" fmla="*/ 25 w 311"/>
              <a:gd name="T85" fmla="*/ 68 h 179"/>
              <a:gd name="T86" fmla="*/ 26 w 311"/>
              <a:gd name="T87" fmla="*/ 62 h 179"/>
              <a:gd name="T88" fmla="*/ 24 w 311"/>
              <a:gd name="T89" fmla="*/ 51 h 179"/>
              <a:gd name="T90" fmla="*/ 19 w 311"/>
              <a:gd name="T91" fmla="*/ 43 h 179"/>
              <a:gd name="T92" fmla="*/ 8 w 311"/>
              <a:gd name="T93" fmla="*/ 29 h 179"/>
              <a:gd name="T94" fmla="*/ 1 w 311"/>
              <a:gd name="T95" fmla="*/ 18 h 179"/>
              <a:gd name="T96" fmla="*/ 1 w 311"/>
              <a:gd name="T97" fmla="*/ 13 h 179"/>
              <a:gd name="T98" fmla="*/ 6 w 311"/>
              <a:gd name="T99" fmla="*/ 6 h 179"/>
              <a:gd name="T100" fmla="*/ 0 w 311"/>
              <a:gd name="T101" fmla="*/ 6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95" name="Freeform 447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>
              <a:gd name="T0" fmla="*/ 6 w 405"/>
              <a:gd name="T1" fmla="*/ 260 h 314"/>
              <a:gd name="T2" fmla="*/ 13 w 405"/>
              <a:gd name="T3" fmla="*/ 237 h 314"/>
              <a:gd name="T4" fmla="*/ 17 w 405"/>
              <a:gd name="T5" fmla="*/ 202 h 314"/>
              <a:gd name="T6" fmla="*/ 23 w 405"/>
              <a:gd name="T7" fmla="*/ 173 h 314"/>
              <a:gd name="T8" fmla="*/ 32 w 405"/>
              <a:gd name="T9" fmla="*/ 162 h 314"/>
              <a:gd name="T10" fmla="*/ 48 w 405"/>
              <a:gd name="T11" fmla="*/ 150 h 314"/>
              <a:gd name="T12" fmla="*/ 72 w 405"/>
              <a:gd name="T13" fmla="*/ 141 h 314"/>
              <a:gd name="T14" fmla="*/ 93 w 405"/>
              <a:gd name="T15" fmla="*/ 134 h 314"/>
              <a:gd name="T16" fmla="*/ 104 w 405"/>
              <a:gd name="T17" fmla="*/ 125 h 314"/>
              <a:gd name="T18" fmla="*/ 113 w 405"/>
              <a:gd name="T19" fmla="*/ 114 h 314"/>
              <a:gd name="T20" fmla="*/ 123 w 405"/>
              <a:gd name="T21" fmla="*/ 93 h 314"/>
              <a:gd name="T22" fmla="*/ 136 w 405"/>
              <a:gd name="T23" fmla="*/ 69 h 314"/>
              <a:gd name="T24" fmla="*/ 147 w 405"/>
              <a:gd name="T25" fmla="*/ 55 h 314"/>
              <a:gd name="T26" fmla="*/ 155 w 405"/>
              <a:gd name="T27" fmla="*/ 51 h 314"/>
              <a:gd name="T28" fmla="*/ 170 w 405"/>
              <a:gd name="T29" fmla="*/ 51 h 314"/>
              <a:gd name="T30" fmla="*/ 189 w 405"/>
              <a:gd name="T31" fmla="*/ 48 h 314"/>
              <a:gd name="T32" fmla="*/ 213 w 405"/>
              <a:gd name="T33" fmla="*/ 35 h 314"/>
              <a:gd name="T34" fmla="*/ 237 w 405"/>
              <a:gd name="T35" fmla="*/ 20 h 314"/>
              <a:gd name="T36" fmla="*/ 257 w 405"/>
              <a:gd name="T37" fmla="*/ 11 h 314"/>
              <a:gd name="T38" fmla="*/ 282 w 405"/>
              <a:gd name="T39" fmla="*/ 4 h 314"/>
              <a:gd name="T40" fmla="*/ 314 w 405"/>
              <a:gd name="T41" fmla="*/ 0 h 314"/>
              <a:gd name="T42" fmla="*/ 332 w 405"/>
              <a:gd name="T43" fmla="*/ 14 h 314"/>
              <a:gd name="T44" fmla="*/ 337 w 405"/>
              <a:gd name="T45" fmla="*/ 34 h 314"/>
              <a:gd name="T46" fmla="*/ 343 w 405"/>
              <a:gd name="T47" fmla="*/ 50 h 314"/>
              <a:gd name="T48" fmla="*/ 352 w 405"/>
              <a:gd name="T49" fmla="*/ 62 h 314"/>
              <a:gd name="T50" fmla="*/ 368 w 405"/>
              <a:gd name="T51" fmla="*/ 74 h 314"/>
              <a:gd name="T52" fmla="*/ 382 w 405"/>
              <a:gd name="T53" fmla="*/ 85 h 314"/>
              <a:gd name="T54" fmla="*/ 390 w 405"/>
              <a:gd name="T55" fmla="*/ 93 h 314"/>
              <a:gd name="T56" fmla="*/ 396 w 405"/>
              <a:gd name="T57" fmla="*/ 115 h 314"/>
              <a:gd name="T58" fmla="*/ 398 w 405"/>
              <a:gd name="T59" fmla="*/ 143 h 314"/>
              <a:gd name="T60" fmla="*/ 398 w 405"/>
              <a:gd name="T61" fmla="*/ 170 h 314"/>
              <a:gd name="T62" fmla="*/ 402 w 405"/>
              <a:gd name="T63" fmla="*/ 196 h 314"/>
              <a:gd name="T64" fmla="*/ 398 w 405"/>
              <a:gd name="T65" fmla="*/ 217 h 314"/>
              <a:gd name="T66" fmla="*/ 382 w 405"/>
              <a:gd name="T67" fmla="*/ 226 h 314"/>
              <a:gd name="T68" fmla="*/ 365 w 405"/>
              <a:gd name="T69" fmla="*/ 241 h 314"/>
              <a:gd name="T70" fmla="*/ 363 w 405"/>
              <a:gd name="T71" fmla="*/ 237 h 314"/>
              <a:gd name="T72" fmla="*/ 358 w 405"/>
              <a:gd name="T73" fmla="*/ 233 h 314"/>
              <a:gd name="T74" fmla="*/ 342 w 405"/>
              <a:gd name="T75" fmla="*/ 227 h 314"/>
              <a:gd name="T76" fmla="*/ 319 w 405"/>
              <a:gd name="T77" fmla="*/ 223 h 314"/>
              <a:gd name="T78" fmla="*/ 152 w 405"/>
              <a:gd name="T79" fmla="*/ 241 h 314"/>
              <a:gd name="T80" fmla="*/ 150 w 405"/>
              <a:gd name="T81" fmla="*/ 257 h 314"/>
              <a:gd name="T82" fmla="*/ 150 w 405"/>
              <a:gd name="T83" fmla="*/ 274 h 314"/>
              <a:gd name="T84" fmla="*/ 152 w 405"/>
              <a:gd name="T85" fmla="*/ 314 h 314"/>
              <a:gd name="T86" fmla="*/ 139 w 405"/>
              <a:gd name="T87" fmla="*/ 312 h 314"/>
              <a:gd name="T88" fmla="*/ 126 w 405"/>
              <a:gd name="T89" fmla="*/ 305 h 314"/>
              <a:gd name="T90" fmla="*/ 100 w 405"/>
              <a:gd name="T91" fmla="*/ 290 h 314"/>
              <a:gd name="T92" fmla="*/ 89 w 405"/>
              <a:gd name="T93" fmla="*/ 307 h 314"/>
              <a:gd name="T94" fmla="*/ 82 w 405"/>
              <a:gd name="T95" fmla="*/ 312 h 314"/>
              <a:gd name="T96" fmla="*/ 73 w 405"/>
              <a:gd name="T97" fmla="*/ 314 h 314"/>
              <a:gd name="T98" fmla="*/ 60 w 405"/>
              <a:gd name="T99" fmla="*/ 311 h 314"/>
              <a:gd name="T100" fmla="*/ 47 w 405"/>
              <a:gd name="T101" fmla="*/ 302 h 314"/>
              <a:gd name="T102" fmla="*/ 28 w 405"/>
              <a:gd name="T103" fmla="*/ 291 h 314"/>
              <a:gd name="T104" fmla="*/ 0 w 405"/>
              <a:gd name="T105" fmla="*/ 284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96" name="Freeform 448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>
              <a:gd name="T0" fmla="*/ 335 w 453"/>
              <a:gd name="T1" fmla="*/ 36 h 661"/>
              <a:gd name="T2" fmla="*/ 321 w 453"/>
              <a:gd name="T3" fmla="*/ 98 h 661"/>
              <a:gd name="T4" fmla="*/ 277 w 453"/>
              <a:gd name="T5" fmla="*/ 162 h 661"/>
              <a:gd name="T6" fmla="*/ 253 w 453"/>
              <a:gd name="T7" fmla="*/ 219 h 661"/>
              <a:gd name="T8" fmla="*/ 232 w 453"/>
              <a:gd name="T9" fmla="*/ 272 h 661"/>
              <a:gd name="T10" fmla="*/ 209 w 453"/>
              <a:gd name="T11" fmla="*/ 329 h 661"/>
              <a:gd name="T12" fmla="*/ 196 w 453"/>
              <a:gd name="T13" fmla="*/ 362 h 661"/>
              <a:gd name="T14" fmla="*/ 180 w 453"/>
              <a:gd name="T15" fmla="*/ 380 h 661"/>
              <a:gd name="T16" fmla="*/ 167 w 453"/>
              <a:gd name="T17" fmla="*/ 390 h 661"/>
              <a:gd name="T18" fmla="*/ 141 w 453"/>
              <a:gd name="T19" fmla="*/ 382 h 661"/>
              <a:gd name="T20" fmla="*/ 121 w 453"/>
              <a:gd name="T21" fmla="*/ 370 h 661"/>
              <a:gd name="T22" fmla="*/ 94 w 453"/>
              <a:gd name="T23" fmla="*/ 367 h 661"/>
              <a:gd name="T24" fmla="*/ 64 w 453"/>
              <a:gd name="T25" fmla="*/ 380 h 661"/>
              <a:gd name="T26" fmla="*/ 44 w 453"/>
              <a:gd name="T27" fmla="*/ 403 h 661"/>
              <a:gd name="T28" fmla="*/ 21 w 453"/>
              <a:gd name="T29" fmla="*/ 454 h 661"/>
              <a:gd name="T30" fmla="*/ 7 w 453"/>
              <a:gd name="T31" fmla="*/ 482 h 661"/>
              <a:gd name="T32" fmla="*/ 1 w 453"/>
              <a:gd name="T33" fmla="*/ 500 h 661"/>
              <a:gd name="T34" fmla="*/ 8 w 453"/>
              <a:gd name="T35" fmla="*/ 517 h 661"/>
              <a:gd name="T36" fmla="*/ 20 w 453"/>
              <a:gd name="T37" fmla="*/ 526 h 661"/>
              <a:gd name="T38" fmla="*/ 55 w 453"/>
              <a:gd name="T39" fmla="*/ 526 h 661"/>
              <a:gd name="T40" fmla="*/ 71 w 453"/>
              <a:gd name="T41" fmla="*/ 548 h 661"/>
              <a:gd name="T42" fmla="*/ 73 w 453"/>
              <a:gd name="T43" fmla="*/ 590 h 661"/>
              <a:gd name="T44" fmla="*/ 67 w 453"/>
              <a:gd name="T45" fmla="*/ 630 h 661"/>
              <a:gd name="T46" fmla="*/ 433 w 453"/>
              <a:gd name="T47" fmla="*/ 661 h 661"/>
              <a:gd name="T48" fmla="*/ 442 w 453"/>
              <a:gd name="T49" fmla="*/ 582 h 661"/>
              <a:gd name="T50" fmla="*/ 415 w 453"/>
              <a:gd name="T51" fmla="*/ 568 h 661"/>
              <a:gd name="T52" fmla="*/ 373 w 453"/>
              <a:gd name="T53" fmla="*/ 557 h 661"/>
              <a:gd name="T54" fmla="*/ 353 w 453"/>
              <a:gd name="T55" fmla="*/ 549 h 661"/>
              <a:gd name="T56" fmla="*/ 340 w 453"/>
              <a:gd name="T57" fmla="*/ 537 h 661"/>
              <a:gd name="T58" fmla="*/ 333 w 453"/>
              <a:gd name="T59" fmla="*/ 515 h 661"/>
              <a:gd name="T60" fmla="*/ 333 w 453"/>
              <a:gd name="T61" fmla="*/ 464 h 661"/>
              <a:gd name="T62" fmla="*/ 337 w 453"/>
              <a:gd name="T63" fmla="*/ 428 h 661"/>
              <a:gd name="T64" fmla="*/ 351 w 453"/>
              <a:gd name="T65" fmla="*/ 397 h 661"/>
              <a:gd name="T66" fmla="*/ 373 w 453"/>
              <a:gd name="T67" fmla="*/ 364 h 661"/>
              <a:gd name="T68" fmla="*/ 392 w 453"/>
              <a:gd name="T69" fmla="*/ 330 h 661"/>
              <a:gd name="T70" fmla="*/ 399 w 453"/>
              <a:gd name="T71" fmla="*/ 297 h 661"/>
              <a:gd name="T72" fmla="*/ 389 w 453"/>
              <a:gd name="T73" fmla="*/ 267 h 661"/>
              <a:gd name="T74" fmla="*/ 373 w 453"/>
              <a:gd name="T75" fmla="*/ 246 h 661"/>
              <a:gd name="T76" fmla="*/ 343 w 453"/>
              <a:gd name="T77" fmla="*/ 217 h 661"/>
              <a:gd name="T78" fmla="*/ 333 w 453"/>
              <a:gd name="T79" fmla="*/ 192 h 661"/>
              <a:gd name="T80" fmla="*/ 335 w 453"/>
              <a:gd name="T81" fmla="*/ 173 h 661"/>
              <a:gd name="T82" fmla="*/ 353 w 453"/>
              <a:gd name="T83" fmla="*/ 164 h 661"/>
              <a:gd name="T84" fmla="*/ 406 w 453"/>
              <a:gd name="T85" fmla="*/ 162 h 661"/>
              <a:gd name="T86" fmla="*/ 395 w 453"/>
              <a:gd name="T87" fmla="*/ 151 h 661"/>
              <a:gd name="T88" fmla="*/ 379 w 453"/>
              <a:gd name="T89" fmla="*/ 117 h 661"/>
              <a:gd name="T90" fmla="*/ 371 w 453"/>
              <a:gd name="T91" fmla="*/ 73 h 661"/>
              <a:gd name="T92" fmla="*/ 373 w 453"/>
              <a:gd name="T93" fmla="*/ 45 h 661"/>
              <a:gd name="T94" fmla="*/ 367 w 453"/>
              <a:gd name="T95" fmla="*/ 11 h 661"/>
              <a:gd name="T96" fmla="*/ 347 w 453"/>
              <a:gd name="T97" fmla="*/ 0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97" name="Freeform 449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>
              <a:gd name="T0" fmla="*/ 0 w 126"/>
              <a:gd name="T1" fmla="*/ 56 h 105"/>
              <a:gd name="T2" fmla="*/ 4 w 126"/>
              <a:gd name="T3" fmla="*/ 49 h 105"/>
              <a:gd name="T4" fmla="*/ 10 w 126"/>
              <a:gd name="T5" fmla="*/ 41 h 105"/>
              <a:gd name="T6" fmla="*/ 16 w 126"/>
              <a:gd name="T7" fmla="*/ 33 h 105"/>
              <a:gd name="T8" fmla="*/ 24 w 126"/>
              <a:gd name="T9" fmla="*/ 25 h 105"/>
              <a:gd name="T10" fmla="*/ 37 w 126"/>
              <a:gd name="T11" fmla="*/ 11 h 105"/>
              <a:gd name="T12" fmla="*/ 47 w 126"/>
              <a:gd name="T13" fmla="*/ 0 h 105"/>
              <a:gd name="T14" fmla="*/ 113 w 126"/>
              <a:gd name="T15" fmla="*/ 0 h 105"/>
              <a:gd name="T16" fmla="*/ 114 w 126"/>
              <a:gd name="T17" fmla="*/ 4 h 105"/>
              <a:gd name="T18" fmla="*/ 115 w 126"/>
              <a:gd name="T19" fmla="*/ 8 h 105"/>
              <a:gd name="T20" fmla="*/ 117 w 126"/>
              <a:gd name="T21" fmla="*/ 12 h 105"/>
              <a:gd name="T22" fmla="*/ 119 w 126"/>
              <a:gd name="T23" fmla="*/ 14 h 105"/>
              <a:gd name="T24" fmla="*/ 124 w 126"/>
              <a:gd name="T25" fmla="*/ 20 h 105"/>
              <a:gd name="T26" fmla="*/ 126 w 126"/>
              <a:gd name="T27" fmla="*/ 24 h 105"/>
              <a:gd name="T28" fmla="*/ 126 w 126"/>
              <a:gd name="T29" fmla="*/ 32 h 105"/>
              <a:gd name="T30" fmla="*/ 125 w 126"/>
              <a:gd name="T31" fmla="*/ 41 h 105"/>
              <a:gd name="T32" fmla="*/ 124 w 126"/>
              <a:gd name="T33" fmla="*/ 48 h 105"/>
              <a:gd name="T34" fmla="*/ 122 w 126"/>
              <a:gd name="T35" fmla="*/ 55 h 105"/>
              <a:gd name="T36" fmla="*/ 119 w 126"/>
              <a:gd name="T37" fmla="*/ 62 h 105"/>
              <a:gd name="T38" fmla="*/ 116 w 126"/>
              <a:gd name="T39" fmla="*/ 69 h 105"/>
              <a:gd name="T40" fmla="*/ 112 w 126"/>
              <a:gd name="T41" fmla="*/ 75 h 105"/>
              <a:gd name="T42" fmla="*/ 108 w 126"/>
              <a:gd name="T43" fmla="*/ 81 h 105"/>
              <a:gd name="T44" fmla="*/ 104 w 126"/>
              <a:gd name="T45" fmla="*/ 86 h 105"/>
              <a:gd name="T46" fmla="*/ 99 w 126"/>
              <a:gd name="T47" fmla="*/ 90 h 105"/>
              <a:gd name="T48" fmla="*/ 93 w 126"/>
              <a:gd name="T49" fmla="*/ 94 h 105"/>
              <a:gd name="T50" fmla="*/ 88 w 126"/>
              <a:gd name="T51" fmla="*/ 99 h 105"/>
              <a:gd name="T52" fmla="*/ 81 w 126"/>
              <a:gd name="T53" fmla="*/ 101 h 105"/>
              <a:gd name="T54" fmla="*/ 74 w 126"/>
              <a:gd name="T55" fmla="*/ 103 h 105"/>
              <a:gd name="T56" fmla="*/ 67 w 126"/>
              <a:gd name="T57" fmla="*/ 105 h 105"/>
              <a:gd name="T58" fmla="*/ 60 w 126"/>
              <a:gd name="T59" fmla="*/ 105 h 105"/>
              <a:gd name="T60" fmla="*/ 48 w 126"/>
              <a:gd name="T61" fmla="*/ 104 h 105"/>
              <a:gd name="T62" fmla="*/ 38 w 126"/>
              <a:gd name="T63" fmla="*/ 102 h 105"/>
              <a:gd name="T64" fmla="*/ 31 w 126"/>
              <a:gd name="T65" fmla="*/ 98 h 105"/>
              <a:gd name="T66" fmla="*/ 24 w 126"/>
              <a:gd name="T67" fmla="*/ 92 h 105"/>
              <a:gd name="T68" fmla="*/ 20 w 126"/>
              <a:gd name="T69" fmla="*/ 86 h 105"/>
              <a:gd name="T70" fmla="*/ 16 w 126"/>
              <a:gd name="T71" fmla="*/ 78 h 105"/>
              <a:gd name="T72" fmla="*/ 14 w 126"/>
              <a:gd name="T73" fmla="*/ 70 h 105"/>
              <a:gd name="T74" fmla="*/ 13 w 126"/>
              <a:gd name="T75" fmla="*/ 62 h 105"/>
              <a:gd name="T76" fmla="*/ 0 w 126"/>
              <a:gd name="T77" fmla="*/ 5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98" name="Freeform 450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>
              <a:gd name="T0" fmla="*/ 671 w 684"/>
              <a:gd name="T1" fmla="*/ 573 h 998"/>
              <a:gd name="T2" fmla="*/ 680 w 684"/>
              <a:gd name="T3" fmla="*/ 550 h 998"/>
              <a:gd name="T4" fmla="*/ 671 w 684"/>
              <a:gd name="T5" fmla="*/ 491 h 998"/>
              <a:gd name="T6" fmla="*/ 659 w 684"/>
              <a:gd name="T7" fmla="*/ 423 h 998"/>
              <a:gd name="T8" fmla="*/ 678 w 684"/>
              <a:gd name="T9" fmla="*/ 389 h 998"/>
              <a:gd name="T10" fmla="*/ 557 w 684"/>
              <a:gd name="T11" fmla="*/ 361 h 998"/>
              <a:gd name="T12" fmla="*/ 533 w 684"/>
              <a:gd name="T13" fmla="*/ 326 h 998"/>
              <a:gd name="T14" fmla="*/ 462 w 684"/>
              <a:gd name="T15" fmla="*/ 310 h 998"/>
              <a:gd name="T16" fmla="*/ 402 w 684"/>
              <a:gd name="T17" fmla="*/ 270 h 998"/>
              <a:gd name="T18" fmla="*/ 375 w 684"/>
              <a:gd name="T19" fmla="*/ 201 h 998"/>
              <a:gd name="T20" fmla="*/ 375 w 684"/>
              <a:gd name="T21" fmla="*/ 133 h 998"/>
              <a:gd name="T22" fmla="*/ 395 w 684"/>
              <a:gd name="T23" fmla="*/ 84 h 998"/>
              <a:gd name="T24" fmla="*/ 435 w 684"/>
              <a:gd name="T25" fmla="*/ 48 h 998"/>
              <a:gd name="T26" fmla="*/ 463 w 684"/>
              <a:gd name="T27" fmla="*/ 11 h 998"/>
              <a:gd name="T28" fmla="*/ 389 w 684"/>
              <a:gd name="T29" fmla="*/ 39 h 998"/>
              <a:gd name="T30" fmla="*/ 335 w 684"/>
              <a:gd name="T31" fmla="*/ 68 h 998"/>
              <a:gd name="T32" fmla="*/ 304 w 684"/>
              <a:gd name="T33" fmla="*/ 78 h 998"/>
              <a:gd name="T34" fmla="*/ 278 w 684"/>
              <a:gd name="T35" fmla="*/ 84 h 998"/>
              <a:gd name="T36" fmla="*/ 241 w 684"/>
              <a:gd name="T37" fmla="*/ 81 h 998"/>
              <a:gd name="T38" fmla="*/ 217 w 684"/>
              <a:gd name="T39" fmla="*/ 108 h 998"/>
              <a:gd name="T40" fmla="*/ 196 w 684"/>
              <a:gd name="T41" fmla="*/ 175 h 998"/>
              <a:gd name="T42" fmla="*/ 157 w 684"/>
              <a:gd name="T43" fmla="*/ 227 h 998"/>
              <a:gd name="T44" fmla="*/ 107 w 684"/>
              <a:gd name="T45" fmla="*/ 284 h 998"/>
              <a:gd name="T46" fmla="*/ 90 w 684"/>
              <a:gd name="T47" fmla="*/ 317 h 998"/>
              <a:gd name="T48" fmla="*/ 86 w 684"/>
              <a:gd name="T49" fmla="*/ 356 h 998"/>
              <a:gd name="T50" fmla="*/ 97 w 684"/>
              <a:gd name="T51" fmla="*/ 382 h 998"/>
              <a:gd name="T52" fmla="*/ 97 w 684"/>
              <a:gd name="T53" fmla="*/ 451 h 998"/>
              <a:gd name="T54" fmla="*/ 95 w 684"/>
              <a:gd name="T55" fmla="*/ 525 h 998"/>
              <a:gd name="T56" fmla="*/ 72 w 684"/>
              <a:gd name="T57" fmla="*/ 563 h 998"/>
              <a:gd name="T58" fmla="*/ 37 w 684"/>
              <a:gd name="T59" fmla="*/ 592 h 998"/>
              <a:gd name="T60" fmla="*/ 11 w 684"/>
              <a:gd name="T61" fmla="*/ 612 h 998"/>
              <a:gd name="T62" fmla="*/ 30 w 684"/>
              <a:gd name="T63" fmla="*/ 668 h 998"/>
              <a:gd name="T64" fmla="*/ 123 w 684"/>
              <a:gd name="T65" fmla="*/ 725 h 998"/>
              <a:gd name="T66" fmla="*/ 175 w 684"/>
              <a:gd name="T67" fmla="*/ 728 h 998"/>
              <a:gd name="T68" fmla="*/ 234 w 684"/>
              <a:gd name="T69" fmla="*/ 746 h 998"/>
              <a:gd name="T70" fmla="*/ 299 w 684"/>
              <a:gd name="T71" fmla="*/ 795 h 998"/>
              <a:gd name="T72" fmla="*/ 337 w 684"/>
              <a:gd name="T73" fmla="*/ 850 h 998"/>
              <a:gd name="T74" fmla="*/ 367 w 684"/>
              <a:gd name="T75" fmla="*/ 881 h 998"/>
              <a:gd name="T76" fmla="*/ 412 w 684"/>
              <a:gd name="T77" fmla="*/ 886 h 998"/>
              <a:gd name="T78" fmla="*/ 462 w 684"/>
              <a:gd name="T79" fmla="*/ 876 h 998"/>
              <a:gd name="T80" fmla="*/ 492 w 684"/>
              <a:gd name="T81" fmla="*/ 878 h 998"/>
              <a:gd name="T82" fmla="*/ 515 w 684"/>
              <a:gd name="T83" fmla="*/ 904 h 998"/>
              <a:gd name="T84" fmla="*/ 513 w 684"/>
              <a:gd name="T85" fmla="*/ 922 h 998"/>
              <a:gd name="T86" fmla="*/ 488 w 684"/>
              <a:gd name="T87" fmla="*/ 937 h 998"/>
              <a:gd name="T88" fmla="*/ 488 w 684"/>
              <a:gd name="T89" fmla="*/ 963 h 998"/>
              <a:gd name="T90" fmla="*/ 511 w 684"/>
              <a:gd name="T91" fmla="*/ 994 h 998"/>
              <a:gd name="T92" fmla="*/ 542 w 684"/>
              <a:gd name="T93" fmla="*/ 962 h 998"/>
              <a:gd name="T94" fmla="*/ 566 w 684"/>
              <a:gd name="T95" fmla="*/ 861 h 998"/>
              <a:gd name="T96" fmla="*/ 571 w 684"/>
              <a:gd name="T97" fmla="*/ 803 h 998"/>
              <a:gd name="T98" fmla="*/ 555 w 684"/>
              <a:gd name="T99" fmla="*/ 771 h 998"/>
              <a:gd name="T100" fmla="*/ 523 w 684"/>
              <a:gd name="T101" fmla="*/ 749 h 998"/>
              <a:gd name="T102" fmla="*/ 521 w 684"/>
              <a:gd name="T103" fmla="*/ 723 h 998"/>
              <a:gd name="T104" fmla="*/ 566 w 684"/>
              <a:gd name="T105" fmla="*/ 700 h 998"/>
              <a:gd name="T106" fmla="*/ 556 w 684"/>
              <a:gd name="T107" fmla="*/ 665 h 998"/>
              <a:gd name="T108" fmla="*/ 556 w 684"/>
              <a:gd name="T109" fmla="*/ 649 h 998"/>
              <a:gd name="T110" fmla="*/ 655 w 684"/>
              <a:gd name="T111" fmla="*/ 62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499" name="Freeform 451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>
              <a:gd name="T0" fmla="*/ 429 w 429"/>
              <a:gd name="T1" fmla="*/ 22 h 524"/>
              <a:gd name="T2" fmla="*/ 428 w 429"/>
              <a:gd name="T3" fmla="*/ 43 h 524"/>
              <a:gd name="T4" fmla="*/ 424 w 429"/>
              <a:gd name="T5" fmla="*/ 54 h 524"/>
              <a:gd name="T6" fmla="*/ 415 w 429"/>
              <a:gd name="T7" fmla="*/ 67 h 524"/>
              <a:gd name="T8" fmla="*/ 413 w 429"/>
              <a:gd name="T9" fmla="*/ 81 h 524"/>
              <a:gd name="T10" fmla="*/ 414 w 429"/>
              <a:gd name="T11" fmla="*/ 160 h 524"/>
              <a:gd name="T12" fmla="*/ 408 w 429"/>
              <a:gd name="T13" fmla="*/ 207 h 524"/>
              <a:gd name="T14" fmla="*/ 396 w 429"/>
              <a:gd name="T15" fmla="*/ 241 h 524"/>
              <a:gd name="T16" fmla="*/ 372 w 429"/>
              <a:gd name="T17" fmla="*/ 278 h 524"/>
              <a:gd name="T18" fmla="*/ 338 w 429"/>
              <a:gd name="T19" fmla="*/ 309 h 524"/>
              <a:gd name="T20" fmla="*/ 319 w 429"/>
              <a:gd name="T21" fmla="*/ 333 h 524"/>
              <a:gd name="T22" fmla="*/ 312 w 429"/>
              <a:gd name="T23" fmla="*/ 412 h 524"/>
              <a:gd name="T24" fmla="*/ 304 w 429"/>
              <a:gd name="T25" fmla="*/ 439 h 524"/>
              <a:gd name="T26" fmla="*/ 290 w 429"/>
              <a:gd name="T27" fmla="*/ 448 h 524"/>
              <a:gd name="T28" fmla="*/ 269 w 429"/>
              <a:gd name="T29" fmla="*/ 455 h 524"/>
              <a:gd name="T30" fmla="*/ 253 w 429"/>
              <a:gd name="T31" fmla="*/ 472 h 524"/>
              <a:gd name="T32" fmla="*/ 234 w 429"/>
              <a:gd name="T33" fmla="*/ 500 h 524"/>
              <a:gd name="T34" fmla="*/ 223 w 429"/>
              <a:gd name="T35" fmla="*/ 505 h 524"/>
              <a:gd name="T36" fmla="*/ 201 w 429"/>
              <a:gd name="T37" fmla="*/ 504 h 524"/>
              <a:gd name="T38" fmla="*/ 189 w 429"/>
              <a:gd name="T39" fmla="*/ 498 h 524"/>
              <a:gd name="T40" fmla="*/ 145 w 429"/>
              <a:gd name="T41" fmla="*/ 500 h 524"/>
              <a:gd name="T42" fmla="*/ 123 w 429"/>
              <a:gd name="T43" fmla="*/ 500 h 524"/>
              <a:gd name="T44" fmla="*/ 113 w 429"/>
              <a:gd name="T45" fmla="*/ 494 h 524"/>
              <a:gd name="T46" fmla="*/ 95 w 429"/>
              <a:gd name="T47" fmla="*/ 493 h 524"/>
              <a:gd name="T48" fmla="*/ 78 w 429"/>
              <a:gd name="T49" fmla="*/ 502 h 524"/>
              <a:gd name="T50" fmla="*/ 62 w 429"/>
              <a:gd name="T51" fmla="*/ 519 h 524"/>
              <a:gd name="T52" fmla="*/ 27 w 429"/>
              <a:gd name="T53" fmla="*/ 491 h 524"/>
              <a:gd name="T54" fmla="*/ 6 w 429"/>
              <a:gd name="T55" fmla="*/ 447 h 524"/>
              <a:gd name="T56" fmla="*/ 25 w 429"/>
              <a:gd name="T57" fmla="*/ 430 h 524"/>
              <a:gd name="T58" fmla="*/ 42 w 429"/>
              <a:gd name="T59" fmla="*/ 424 h 524"/>
              <a:gd name="T60" fmla="*/ 61 w 429"/>
              <a:gd name="T61" fmla="*/ 428 h 524"/>
              <a:gd name="T62" fmla="*/ 58 w 429"/>
              <a:gd name="T63" fmla="*/ 418 h 524"/>
              <a:gd name="T64" fmla="*/ 45 w 429"/>
              <a:gd name="T65" fmla="*/ 386 h 524"/>
              <a:gd name="T66" fmla="*/ 47 w 429"/>
              <a:gd name="T67" fmla="*/ 366 h 524"/>
              <a:gd name="T68" fmla="*/ 57 w 429"/>
              <a:gd name="T69" fmla="*/ 356 h 524"/>
              <a:gd name="T70" fmla="*/ 71 w 429"/>
              <a:gd name="T71" fmla="*/ 352 h 524"/>
              <a:gd name="T72" fmla="*/ 89 w 429"/>
              <a:gd name="T73" fmla="*/ 337 h 524"/>
              <a:gd name="T74" fmla="*/ 104 w 429"/>
              <a:gd name="T75" fmla="*/ 333 h 524"/>
              <a:gd name="T76" fmla="*/ 115 w 429"/>
              <a:gd name="T77" fmla="*/ 342 h 524"/>
              <a:gd name="T78" fmla="*/ 135 w 429"/>
              <a:gd name="T79" fmla="*/ 359 h 524"/>
              <a:gd name="T80" fmla="*/ 154 w 429"/>
              <a:gd name="T81" fmla="*/ 351 h 524"/>
              <a:gd name="T82" fmla="*/ 181 w 429"/>
              <a:gd name="T83" fmla="*/ 353 h 524"/>
              <a:gd name="T84" fmla="*/ 199 w 429"/>
              <a:gd name="T85" fmla="*/ 340 h 524"/>
              <a:gd name="T86" fmla="*/ 210 w 429"/>
              <a:gd name="T87" fmla="*/ 315 h 524"/>
              <a:gd name="T88" fmla="*/ 213 w 429"/>
              <a:gd name="T89" fmla="*/ 290 h 524"/>
              <a:gd name="T90" fmla="*/ 215 w 429"/>
              <a:gd name="T91" fmla="*/ 269 h 524"/>
              <a:gd name="T92" fmla="*/ 201 w 429"/>
              <a:gd name="T93" fmla="*/ 236 h 524"/>
              <a:gd name="T94" fmla="*/ 188 w 429"/>
              <a:gd name="T95" fmla="*/ 203 h 524"/>
              <a:gd name="T96" fmla="*/ 207 w 429"/>
              <a:gd name="T97" fmla="*/ 177 h 524"/>
              <a:gd name="T98" fmla="*/ 210 w 429"/>
              <a:gd name="T99" fmla="*/ 164 h 524"/>
              <a:gd name="T100" fmla="*/ 200 w 429"/>
              <a:gd name="T101" fmla="*/ 155 h 524"/>
              <a:gd name="T102" fmla="*/ 197 w 429"/>
              <a:gd name="T103" fmla="*/ 137 h 524"/>
              <a:gd name="T104" fmla="*/ 188 w 429"/>
              <a:gd name="T105" fmla="*/ 129 h 524"/>
              <a:gd name="T106" fmla="*/ 161 w 429"/>
              <a:gd name="T107" fmla="*/ 132 h 524"/>
              <a:gd name="T108" fmla="*/ 137 w 429"/>
              <a:gd name="T109" fmla="*/ 131 h 524"/>
              <a:gd name="T110" fmla="*/ 125 w 429"/>
              <a:gd name="T111" fmla="*/ 119 h 524"/>
              <a:gd name="T112" fmla="*/ 123 w 429"/>
              <a:gd name="T113" fmla="*/ 103 h 524"/>
              <a:gd name="T114" fmla="*/ 132 w 429"/>
              <a:gd name="T115" fmla="*/ 76 h 524"/>
              <a:gd name="T116" fmla="*/ 306 w 429"/>
              <a:gd name="T117" fmla="*/ 38 h 524"/>
              <a:gd name="T118" fmla="*/ 323 w 429"/>
              <a:gd name="T119" fmla="*/ 17 h 524"/>
              <a:gd name="T120" fmla="*/ 343 w 429"/>
              <a:gd name="T121" fmla="*/ 7 h 524"/>
              <a:gd name="T122" fmla="*/ 374 w 429"/>
              <a:gd name="T123" fmla="*/ 5 h 524"/>
              <a:gd name="T124" fmla="*/ 408 w 429"/>
              <a:gd name="T125" fmla="*/ 4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00" name="Freeform 452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>
              <a:gd name="T0" fmla="*/ 259 w 292"/>
              <a:gd name="T1" fmla="*/ 93 h 223"/>
              <a:gd name="T2" fmla="*/ 166 w 292"/>
              <a:gd name="T3" fmla="*/ 77 h 223"/>
              <a:gd name="T4" fmla="*/ 152 w 292"/>
              <a:gd name="T5" fmla="*/ 79 h 223"/>
              <a:gd name="T6" fmla="*/ 139 w 292"/>
              <a:gd name="T7" fmla="*/ 79 h 223"/>
              <a:gd name="T8" fmla="*/ 126 w 292"/>
              <a:gd name="T9" fmla="*/ 77 h 223"/>
              <a:gd name="T10" fmla="*/ 119 w 292"/>
              <a:gd name="T11" fmla="*/ 93 h 223"/>
              <a:gd name="T12" fmla="*/ 144 w 292"/>
              <a:gd name="T13" fmla="*/ 131 h 223"/>
              <a:gd name="T14" fmla="*/ 168 w 292"/>
              <a:gd name="T15" fmla="*/ 157 h 223"/>
              <a:gd name="T16" fmla="*/ 189 w 292"/>
              <a:gd name="T17" fmla="*/ 185 h 223"/>
              <a:gd name="T18" fmla="*/ 197 w 292"/>
              <a:gd name="T19" fmla="*/ 202 h 223"/>
              <a:gd name="T20" fmla="*/ 205 w 292"/>
              <a:gd name="T21" fmla="*/ 222 h 223"/>
              <a:gd name="T22" fmla="*/ 175 w 292"/>
              <a:gd name="T23" fmla="*/ 223 h 223"/>
              <a:gd name="T24" fmla="*/ 161 w 292"/>
              <a:gd name="T25" fmla="*/ 222 h 223"/>
              <a:gd name="T26" fmla="*/ 146 w 292"/>
              <a:gd name="T27" fmla="*/ 216 h 223"/>
              <a:gd name="T28" fmla="*/ 134 w 292"/>
              <a:gd name="T29" fmla="*/ 209 h 223"/>
              <a:gd name="T30" fmla="*/ 127 w 292"/>
              <a:gd name="T31" fmla="*/ 198 h 223"/>
              <a:gd name="T32" fmla="*/ 121 w 292"/>
              <a:gd name="T33" fmla="*/ 187 h 223"/>
              <a:gd name="T34" fmla="*/ 113 w 292"/>
              <a:gd name="T35" fmla="*/ 180 h 223"/>
              <a:gd name="T36" fmla="*/ 91 w 292"/>
              <a:gd name="T37" fmla="*/ 145 h 223"/>
              <a:gd name="T38" fmla="*/ 68 w 292"/>
              <a:gd name="T39" fmla="*/ 113 h 223"/>
              <a:gd name="T40" fmla="*/ 55 w 292"/>
              <a:gd name="T41" fmla="*/ 99 h 223"/>
              <a:gd name="T42" fmla="*/ 42 w 292"/>
              <a:gd name="T43" fmla="*/ 87 h 223"/>
              <a:gd name="T44" fmla="*/ 27 w 292"/>
              <a:gd name="T45" fmla="*/ 79 h 223"/>
              <a:gd name="T46" fmla="*/ 13 w 292"/>
              <a:gd name="T47" fmla="*/ 75 h 223"/>
              <a:gd name="T48" fmla="*/ 4 w 292"/>
              <a:gd name="T49" fmla="*/ 65 h 223"/>
              <a:gd name="T50" fmla="*/ 1 w 292"/>
              <a:gd name="T51" fmla="*/ 58 h 223"/>
              <a:gd name="T52" fmla="*/ 0 w 292"/>
              <a:gd name="T53" fmla="*/ 49 h 223"/>
              <a:gd name="T54" fmla="*/ 40 w 292"/>
              <a:gd name="T55" fmla="*/ 55 h 223"/>
              <a:gd name="T56" fmla="*/ 70 w 292"/>
              <a:gd name="T57" fmla="*/ 55 h 223"/>
              <a:gd name="T58" fmla="*/ 91 w 292"/>
              <a:gd name="T59" fmla="*/ 50 h 223"/>
              <a:gd name="T60" fmla="*/ 106 w 292"/>
              <a:gd name="T61" fmla="*/ 41 h 223"/>
              <a:gd name="T62" fmla="*/ 127 w 292"/>
              <a:gd name="T63" fmla="*/ 20 h 223"/>
              <a:gd name="T64" fmla="*/ 138 w 292"/>
              <a:gd name="T65" fmla="*/ 9 h 223"/>
              <a:gd name="T66" fmla="*/ 152 w 292"/>
              <a:gd name="T67" fmla="*/ 0 h 223"/>
              <a:gd name="T68" fmla="*/ 172 w 292"/>
              <a:gd name="T69" fmla="*/ 14 h 223"/>
              <a:gd name="T70" fmla="*/ 194 w 292"/>
              <a:gd name="T71" fmla="*/ 26 h 223"/>
              <a:gd name="T72" fmla="*/ 218 w 292"/>
              <a:gd name="T73" fmla="*/ 34 h 223"/>
              <a:gd name="T74" fmla="*/ 246 w 292"/>
              <a:gd name="T75" fmla="*/ 37 h 223"/>
              <a:gd name="T76" fmla="*/ 262 w 292"/>
              <a:gd name="T77" fmla="*/ 34 h 223"/>
              <a:gd name="T78" fmla="*/ 279 w 292"/>
              <a:gd name="T79" fmla="*/ 31 h 223"/>
              <a:gd name="T80" fmla="*/ 285 w 292"/>
              <a:gd name="T81" fmla="*/ 47 h 223"/>
              <a:gd name="T82" fmla="*/ 287 w 292"/>
              <a:gd name="T83" fmla="*/ 49 h 223"/>
              <a:gd name="T84" fmla="*/ 292 w 292"/>
              <a:gd name="T85" fmla="*/ 69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01" name="Freeform 453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>
              <a:gd name="T0" fmla="*/ 375 w 379"/>
              <a:gd name="T1" fmla="*/ 94 h 147"/>
              <a:gd name="T2" fmla="*/ 360 w 379"/>
              <a:gd name="T3" fmla="*/ 101 h 147"/>
              <a:gd name="T4" fmla="*/ 354 w 379"/>
              <a:gd name="T5" fmla="*/ 108 h 147"/>
              <a:gd name="T6" fmla="*/ 347 w 379"/>
              <a:gd name="T7" fmla="*/ 117 h 147"/>
              <a:gd name="T8" fmla="*/ 333 w 379"/>
              <a:gd name="T9" fmla="*/ 127 h 147"/>
              <a:gd name="T10" fmla="*/ 320 w 379"/>
              <a:gd name="T11" fmla="*/ 131 h 147"/>
              <a:gd name="T12" fmla="*/ 311 w 379"/>
              <a:gd name="T13" fmla="*/ 132 h 147"/>
              <a:gd name="T14" fmla="*/ 301 w 379"/>
              <a:gd name="T15" fmla="*/ 130 h 147"/>
              <a:gd name="T16" fmla="*/ 291 w 379"/>
              <a:gd name="T17" fmla="*/ 126 h 147"/>
              <a:gd name="T18" fmla="*/ 281 w 379"/>
              <a:gd name="T19" fmla="*/ 119 h 147"/>
              <a:gd name="T20" fmla="*/ 275 w 379"/>
              <a:gd name="T21" fmla="*/ 116 h 147"/>
              <a:gd name="T22" fmla="*/ 269 w 379"/>
              <a:gd name="T23" fmla="*/ 118 h 147"/>
              <a:gd name="T24" fmla="*/ 267 w 379"/>
              <a:gd name="T25" fmla="*/ 123 h 147"/>
              <a:gd name="T26" fmla="*/ 266 w 379"/>
              <a:gd name="T27" fmla="*/ 140 h 147"/>
              <a:gd name="T28" fmla="*/ 257 w 379"/>
              <a:gd name="T29" fmla="*/ 145 h 147"/>
              <a:gd name="T30" fmla="*/ 244 w 379"/>
              <a:gd name="T31" fmla="*/ 140 h 147"/>
              <a:gd name="T32" fmla="*/ 229 w 379"/>
              <a:gd name="T33" fmla="*/ 131 h 147"/>
              <a:gd name="T34" fmla="*/ 113 w 379"/>
              <a:gd name="T35" fmla="*/ 141 h 147"/>
              <a:gd name="T36" fmla="*/ 80 w 379"/>
              <a:gd name="T37" fmla="*/ 124 h 147"/>
              <a:gd name="T38" fmla="*/ 58 w 379"/>
              <a:gd name="T39" fmla="*/ 109 h 147"/>
              <a:gd name="T40" fmla="*/ 45 w 379"/>
              <a:gd name="T41" fmla="*/ 94 h 147"/>
              <a:gd name="T42" fmla="*/ 37 w 379"/>
              <a:gd name="T43" fmla="*/ 82 h 147"/>
              <a:gd name="T44" fmla="*/ 26 w 379"/>
              <a:gd name="T45" fmla="*/ 59 h 147"/>
              <a:gd name="T46" fmla="*/ 16 w 379"/>
              <a:gd name="T47" fmla="*/ 48 h 147"/>
              <a:gd name="T48" fmla="*/ 0 w 379"/>
              <a:gd name="T49" fmla="*/ 36 h 147"/>
              <a:gd name="T50" fmla="*/ 29 w 379"/>
              <a:gd name="T51" fmla="*/ 40 h 147"/>
              <a:gd name="T52" fmla="*/ 52 w 379"/>
              <a:gd name="T53" fmla="*/ 38 h 147"/>
              <a:gd name="T54" fmla="*/ 72 w 379"/>
              <a:gd name="T55" fmla="*/ 33 h 147"/>
              <a:gd name="T56" fmla="*/ 87 w 379"/>
              <a:gd name="T57" fmla="*/ 25 h 147"/>
              <a:gd name="T58" fmla="*/ 119 w 379"/>
              <a:gd name="T59" fmla="*/ 8 h 147"/>
              <a:gd name="T60" fmla="*/ 138 w 379"/>
              <a:gd name="T61" fmla="*/ 2 h 147"/>
              <a:gd name="T62" fmla="*/ 159 w 379"/>
              <a:gd name="T63" fmla="*/ 0 h 147"/>
              <a:gd name="T64" fmla="*/ 200 w 379"/>
              <a:gd name="T65" fmla="*/ 23 h 147"/>
              <a:gd name="T66" fmla="*/ 244 w 379"/>
              <a:gd name="T67" fmla="*/ 45 h 147"/>
              <a:gd name="T68" fmla="*/ 292 w 379"/>
              <a:gd name="T69" fmla="*/ 67 h 147"/>
              <a:gd name="T70" fmla="*/ 333 w 379"/>
              <a:gd name="T71" fmla="*/ 80 h 147"/>
              <a:gd name="T72" fmla="*/ 354 w 379"/>
              <a:gd name="T73" fmla="*/ 86 h 147"/>
              <a:gd name="T74" fmla="*/ 379 w 379"/>
              <a:gd name="T75" fmla="*/ 9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02" name="Freeform 454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9 h 67"/>
              <a:gd name="T4" fmla="*/ 0 w 61"/>
              <a:gd name="T5" fmla="*/ 18 h 67"/>
              <a:gd name="T6" fmla="*/ 1 w 61"/>
              <a:gd name="T7" fmla="*/ 24 h 67"/>
              <a:gd name="T8" fmla="*/ 2 w 61"/>
              <a:gd name="T9" fmla="*/ 30 h 67"/>
              <a:gd name="T10" fmla="*/ 3 w 61"/>
              <a:gd name="T11" fmla="*/ 36 h 67"/>
              <a:gd name="T12" fmla="*/ 6 w 61"/>
              <a:gd name="T13" fmla="*/ 42 h 67"/>
              <a:gd name="T14" fmla="*/ 12 w 61"/>
              <a:gd name="T15" fmla="*/ 55 h 67"/>
              <a:gd name="T16" fmla="*/ 21 w 61"/>
              <a:gd name="T17" fmla="*/ 67 h 67"/>
              <a:gd name="T18" fmla="*/ 28 w 61"/>
              <a:gd name="T19" fmla="*/ 65 h 67"/>
              <a:gd name="T20" fmla="*/ 35 w 61"/>
              <a:gd name="T21" fmla="*/ 61 h 67"/>
              <a:gd name="T22" fmla="*/ 42 w 61"/>
              <a:gd name="T23" fmla="*/ 58 h 67"/>
              <a:gd name="T24" fmla="*/ 48 w 61"/>
              <a:gd name="T25" fmla="*/ 53 h 67"/>
              <a:gd name="T26" fmla="*/ 53 w 61"/>
              <a:gd name="T27" fmla="*/ 47 h 67"/>
              <a:gd name="T28" fmla="*/ 57 w 61"/>
              <a:gd name="T29" fmla="*/ 40 h 67"/>
              <a:gd name="T30" fmla="*/ 59 w 61"/>
              <a:gd name="T31" fmla="*/ 32 h 67"/>
              <a:gd name="T32" fmla="*/ 61 w 61"/>
              <a:gd name="T33" fmla="*/ 24 h 67"/>
              <a:gd name="T34" fmla="*/ 53 w 61"/>
              <a:gd name="T35" fmla="*/ 14 h 67"/>
              <a:gd name="T36" fmla="*/ 41 w 61"/>
              <a:gd name="T37" fmla="*/ 0 h 67"/>
              <a:gd name="T38" fmla="*/ 28 w 61"/>
              <a:gd name="T39" fmla="*/ 3 h 67"/>
              <a:gd name="T40" fmla="*/ 18 w 61"/>
              <a:gd name="T41" fmla="*/ 4 h 67"/>
              <a:gd name="T42" fmla="*/ 13 w 61"/>
              <a:gd name="T43" fmla="*/ 4 h 67"/>
              <a:gd name="T44" fmla="*/ 10 w 61"/>
              <a:gd name="T45" fmla="*/ 3 h 67"/>
              <a:gd name="T46" fmla="*/ 6 w 61"/>
              <a:gd name="T47" fmla="*/ 2 h 67"/>
              <a:gd name="T48" fmla="*/ 0 w 61"/>
              <a:gd name="T49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03" name="Freeform 455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>
              <a:gd name="T0" fmla="*/ 0 w 60"/>
              <a:gd name="T1" fmla="*/ 6 h 55"/>
              <a:gd name="T2" fmla="*/ 0 w 60"/>
              <a:gd name="T3" fmla="*/ 24 h 55"/>
              <a:gd name="T4" fmla="*/ 5 w 60"/>
              <a:gd name="T5" fmla="*/ 32 h 55"/>
              <a:gd name="T6" fmla="*/ 10 w 60"/>
              <a:gd name="T7" fmla="*/ 40 h 55"/>
              <a:gd name="T8" fmla="*/ 16 w 60"/>
              <a:gd name="T9" fmla="*/ 45 h 55"/>
              <a:gd name="T10" fmla="*/ 21 w 60"/>
              <a:gd name="T11" fmla="*/ 49 h 55"/>
              <a:gd name="T12" fmla="*/ 27 w 60"/>
              <a:gd name="T13" fmla="*/ 52 h 55"/>
              <a:gd name="T14" fmla="*/ 33 w 60"/>
              <a:gd name="T15" fmla="*/ 54 h 55"/>
              <a:gd name="T16" fmla="*/ 40 w 60"/>
              <a:gd name="T17" fmla="*/ 55 h 55"/>
              <a:gd name="T18" fmla="*/ 46 w 60"/>
              <a:gd name="T19" fmla="*/ 55 h 55"/>
              <a:gd name="T20" fmla="*/ 53 w 60"/>
              <a:gd name="T21" fmla="*/ 52 h 55"/>
              <a:gd name="T22" fmla="*/ 60 w 60"/>
              <a:gd name="T23" fmla="*/ 49 h 55"/>
              <a:gd name="T24" fmla="*/ 50 w 60"/>
              <a:gd name="T25" fmla="*/ 34 h 55"/>
              <a:gd name="T26" fmla="*/ 42 w 60"/>
              <a:gd name="T27" fmla="*/ 22 h 55"/>
              <a:gd name="T28" fmla="*/ 39 w 60"/>
              <a:gd name="T29" fmla="*/ 17 h 55"/>
              <a:gd name="T30" fmla="*/ 35 w 60"/>
              <a:gd name="T31" fmla="*/ 12 h 55"/>
              <a:gd name="T32" fmla="*/ 34 w 60"/>
              <a:gd name="T33" fmla="*/ 6 h 55"/>
              <a:gd name="T34" fmla="*/ 33 w 60"/>
              <a:gd name="T35" fmla="*/ 0 h 55"/>
              <a:gd name="T36" fmla="*/ 23 w 60"/>
              <a:gd name="T37" fmla="*/ 1 h 55"/>
              <a:gd name="T38" fmla="*/ 15 w 60"/>
              <a:gd name="T39" fmla="*/ 3 h 55"/>
              <a:gd name="T40" fmla="*/ 7 w 60"/>
              <a:gd name="T41" fmla="*/ 5 h 55"/>
              <a:gd name="T42" fmla="*/ 0 w 60"/>
              <a:gd name="T43" fmla="*/ 6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04" name="Freeform 456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>
              <a:gd name="T0" fmla="*/ 74 w 120"/>
              <a:gd name="T1" fmla="*/ 129 h 148"/>
              <a:gd name="T2" fmla="*/ 70 w 120"/>
              <a:gd name="T3" fmla="*/ 131 h 148"/>
              <a:gd name="T4" fmla="*/ 67 w 120"/>
              <a:gd name="T5" fmla="*/ 132 h 148"/>
              <a:gd name="T6" fmla="*/ 64 w 120"/>
              <a:gd name="T7" fmla="*/ 133 h 148"/>
              <a:gd name="T8" fmla="*/ 60 w 120"/>
              <a:gd name="T9" fmla="*/ 133 h 148"/>
              <a:gd name="T10" fmla="*/ 56 w 120"/>
              <a:gd name="T11" fmla="*/ 133 h 148"/>
              <a:gd name="T12" fmla="*/ 53 w 120"/>
              <a:gd name="T13" fmla="*/ 132 h 148"/>
              <a:gd name="T14" fmla="*/ 50 w 120"/>
              <a:gd name="T15" fmla="*/ 131 h 148"/>
              <a:gd name="T16" fmla="*/ 47 w 120"/>
              <a:gd name="T17" fmla="*/ 129 h 148"/>
              <a:gd name="T18" fmla="*/ 41 w 120"/>
              <a:gd name="T19" fmla="*/ 128 h 148"/>
              <a:gd name="T20" fmla="*/ 34 w 120"/>
              <a:gd name="T21" fmla="*/ 125 h 148"/>
              <a:gd name="T22" fmla="*/ 26 w 120"/>
              <a:gd name="T23" fmla="*/ 120 h 148"/>
              <a:gd name="T24" fmla="*/ 19 w 120"/>
              <a:gd name="T25" fmla="*/ 115 h 148"/>
              <a:gd name="T26" fmla="*/ 11 w 120"/>
              <a:gd name="T27" fmla="*/ 108 h 148"/>
              <a:gd name="T28" fmla="*/ 6 w 120"/>
              <a:gd name="T29" fmla="*/ 101 h 148"/>
              <a:gd name="T30" fmla="*/ 3 w 120"/>
              <a:gd name="T31" fmla="*/ 97 h 148"/>
              <a:gd name="T32" fmla="*/ 2 w 120"/>
              <a:gd name="T33" fmla="*/ 94 h 148"/>
              <a:gd name="T34" fmla="*/ 1 w 120"/>
              <a:gd name="T35" fmla="*/ 90 h 148"/>
              <a:gd name="T36" fmla="*/ 0 w 120"/>
              <a:gd name="T37" fmla="*/ 87 h 148"/>
              <a:gd name="T38" fmla="*/ 2 w 120"/>
              <a:gd name="T39" fmla="*/ 73 h 148"/>
              <a:gd name="T40" fmla="*/ 8 w 120"/>
              <a:gd name="T41" fmla="*/ 55 h 148"/>
              <a:gd name="T42" fmla="*/ 14 w 120"/>
              <a:gd name="T43" fmla="*/ 35 h 148"/>
              <a:gd name="T44" fmla="*/ 20 w 120"/>
              <a:gd name="T45" fmla="*/ 18 h 148"/>
              <a:gd name="T46" fmla="*/ 32 w 120"/>
              <a:gd name="T47" fmla="*/ 17 h 148"/>
              <a:gd name="T48" fmla="*/ 42 w 120"/>
              <a:gd name="T49" fmla="*/ 16 h 148"/>
              <a:gd name="T50" fmla="*/ 51 w 120"/>
              <a:gd name="T51" fmla="*/ 14 h 148"/>
              <a:gd name="T52" fmla="*/ 58 w 120"/>
              <a:gd name="T53" fmla="*/ 11 h 148"/>
              <a:gd name="T54" fmla="*/ 70 w 120"/>
              <a:gd name="T55" fmla="*/ 5 h 148"/>
              <a:gd name="T56" fmla="*/ 80 w 120"/>
              <a:gd name="T57" fmla="*/ 0 h 148"/>
              <a:gd name="T58" fmla="*/ 85 w 120"/>
              <a:gd name="T59" fmla="*/ 2 h 148"/>
              <a:gd name="T60" fmla="*/ 93 w 120"/>
              <a:gd name="T61" fmla="*/ 7 h 148"/>
              <a:gd name="T62" fmla="*/ 98 w 120"/>
              <a:gd name="T63" fmla="*/ 10 h 148"/>
              <a:gd name="T64" fmla="*/ 102 w 120"/>
              <a:gd name="T65" fmla="*/ 13 h 148"/>
              <a:gd name="T66" fmla="*/ 106 w 120"/>
              <a:gd name="T67" fmla="*/ 16 h 148"/>
              <a:gd name="T68" fmla="*/ 107 w 120"/>
              <a:gd name="T69" fmla="*/ 18 h 148"/>
              <a:gd name="T70" fmla="*/ 100 w 120"/>
              <a:gd name="T71" fmla="*/ 28 h 148"/>
              <a:gd name="T72" fmla="*/ 93 w 120"/>
              <a:gd name="T73" fmla="*/ 37 h 148"/>
              <a:gd name="T74" fmla="*/ 95 w 120"/>
              <a:gd name="T75" fmla="*/ 42 h 148"/>
              <a:gd name="T76" fmla="*/ 98 w 120"/>
              <a:gd name="T77" fmla="*/ 49 h 148"/>
              <a:gd name="T78" fmla="*/ 102 w 120"/>
              <a:gd name="T79" fmla="*/ 56 h 148"/>
              <a:gd name="T80" fmla="*/ 107 w 120"/>
              <a:gd name="T81" fmla="*/ 63 h 148"/>
              <a:gd name="T82" fmla="*/ 115 w 120"/>
              <a:gd name="T83" fmla="*/ 75 h 148"/>
              <a:gd name="T84" fmla="*/ 120 w 120"/>
              <a:gd name="T85" fmla="*/ 79 h 148"/>
              <a:gd name="T86" fmla="*/ 113 w 120"/>
              <a:gd name="T87" fmla="*/ 81 h 148"/>
              <a:gd name="T88" fmla="*/ 107 w 120"/>
              <a:gd name="T89" fmla="*/ 84 h 148"/>
              <a:gd name="T90" fmla="*/ 100 w 120"/>
              <a:gd name="T91" fmla="*/ 87 h 148"/>
              <a:gd name="T92" fmla="*/ 96 w 120"/>
              <a:gd name="T93" fmla="*/ 91 h 148"/>
              <a:gd name="T94" fmla="*/ 90 w 120"/>
              <a:gd name="T95" fmla="*/ 95 h 148"/>
              <a:gd name="T96" fmla="*/ 87 w 120"/>
              <a:gd name="T97" fmla="*/ 99 h 148"/>
              <a:gd name="T98" fmla="*/ 82 w 120"/>
              <a:gd name="T99" fmla="*/ 104 h 148"/>
              <a:gd name="T100" fmla="*/ 80 w 120"/>
              <a:gd name="T101" fmla="*/ 109 h 148"/>
              <a:gd name="T102" fmla="*/ 78 w 120"/>
              <a:gd name="T103" fmla="*/ 114 h 148"/>
              <a:gd name="T104" fmla="*/ 77 w 120"/>
              <a:gd name="T105" fmla="*/ 120 h 148"/>
              <a:gd name="T106" fmla="*/ 76 w 120"/>
              <a:gd name="T107" fmla="*/ 125 h 148"/>
              <a:gd name="T108" fmla="*/ 75 w 120"/>
              <a:gd name="T109" fmla="*/ 130 h 148"/>
              <a:gd name="T110" fmla="*/ 76 w 120"/>
              <a:gd name="T111" fmla="*/ 135 h 148"/>
              <a:gd name="T112" fmla="*/ 77 w 120"/>
              <a:gd name="T113" fmla="*/ 140 h 148"/>
              <a:gd name="T114" fmla="*/ 78 w 120"/>
              <a:gd name="T115" fmla="*/ 144 h 148"/>
              <a:gd name="T116" fmla="*/ 80 w 120"/>
              <a:gd name="T117" fmla="*/ 148 h 148"/>
              <a:gd name="T118" fmla="*/ 74 w 120"/>
              <a:gd name="T119" fmla="*/ 129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05" name="Freeform 457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>
              <a:gd name="T0" fmla="*/ 21 w 631"/>
              <a:gd name="T1" fmla="*/ 2 h 592"/>
              <a:gd name="T2" fmla="*/ 32 w 631"/>
              <a:gd name="T3" fmla="*/ 4 h 592"/>
              <a:gd name="T4" fmla="*/ 54 w 631"/>
              <a:gd name="T5" fmla="*/ 8 h 592"/>
              <a:gd name="T6" fmla="*/ 78 w 631"/>
              <a:gd name="T7" fmla="*/ 11 h 592"/>
              <a:gd name="T8" fmla="*/ 104 w 631"/>
              <a:gd name="T9" fmla="*/ 19 h 592"/>
              <a:gd name="T10" fmla="*/ 130 w 631"/>
              <a:gd name="T11" fmla="*/ 32 h 592"/>
              <a:gd name="T12" fmla="*/ 146 w 631"/>
              <a:gd name="T13" fmla="*/ 40 h 592"/>
              <a:gd name="T14" fmla="*/ 159 w 631"/>
              <a:gd name="T15" fmla="*/ 43 h 592"/>
              <a:gd name="T16" fmla="*/ 189 w 631"/>
              <a:gd name="T17" fmla="*/ 43 h 592"/>
              <a:gd name="T18" fmla="*/ 227 w 631"/>
              <a:gd name="T19" fmla="*/ 37 h 592"/>
              <a:gd name="T20" fmla="*/ 277 w 631"/>
              <a:gd name="T21" fmla="*/ 23 h 592"/>
              <a:gd name="T22" fmla="*/ 399 w 631"/>
              <a:gd name="T23" fmla="*/ 38 h 592"/>
              <a:gd name="T24" fmla="*/ 403 w 631"/>
              <a:gd name="T25" fmla="*/ 69 h 592"/>
              <a:gd name="T26" fmla="*/ 410 w 631"/>
              <a:gd name="T27" fmla="*/ 95 h 592"/>
              <a:gd name="T28" fmla="*/ 417 w 631"/>
              <a:gd name="T29" fmla="*/ 119 h 592"/>
              <a:gd name="T30" fmla="*/ 427 w 631"/>
              <a:gd name="T31" fmla="*/ 140 h 592"/>
              <a:gd name="T32" fmla="*/ 450 w 631"/>
              <a:gd name="T33" fmla="*/ 175 h 592"/>
              <a:gd name="T34" fmla="*/ 472 w 631"/>
              <a:gd name="T35" fmla="*/ 204 h 592"/>
              <a:gd name="T36" fmla="*/ 482 w 631"/>
              <a:gd name="T37" fmla="*/ 222 h 592"/>
              <a:gd name="T38" fmla="*/ 485 w 631"/>
              <a:gd name="T39" fmla="*/ 240 h 592"/>
              <a:gd name="T40" fmla="*/ 491 w 631"/>
              <a:gd name="T41" fmla="*/ 255 h 592"/>
              <a:gd name="T42" fmla="*/ 496 w 631"/>
              <a:gd name="T43" fmla="*/ 261 h 592"/>
              <a:gd name="T44" fmla="*/ 505 w 631"/>
              <a:gd name="T45" fmla="*/ 266 h 592"/>
              <a:gd name="T46" fmla="*/ 513 w 631"/>
              <a:gd name="T47" fmla="*/ 270 h 592"/>
              <a:gd name="T48" fmla="*/ 519 w 631"/>
              <a:gd name="T49" fmla="*/ 278 h 592"/>
              <a:gd name="T50" fmla="*/ 533 w 631"/>
              <a:gd name="T51" fmla="*/ 303 h 592"/>
              <a:gd name="T52" fmla="*/ 541 w 631"/>
              <a:gd name="T53" fmla="*/ 331 h 592"/>
              <a:gd name="T54" fmla="*/ 545 w 631"/>
              <a:gd name="T55" fmla="*/ 358 h 592"/>
              <a:gd name="T56" fmla="*/ 548 w 631"/>
              <a:gd name="T57" fmla="*/ 368 h 592"/>
              <a:gd name="T58" fmla="*/ 557 w 631"/>
              <a:gd name="T59" fmla="*/ 381 h 592"/>
              <a:gd name="T60" fmla="*/ 583 w 631"/>
              <a:gd name="T61" fmla="*/ 415 h 592"/>
              <a:gd name="T62" fmla="*/ 612 w 631"/>
              <a:gd name="T63" fmla="*/ 447 h 592"/>
              <a:gd name="T64" fmla="*/ 631 w 631"/>
              <a:gd name="T65" fmla="*/ 463 h 592"/>
              <a:gd name="T66" fmla="*/ 612 w 631"/>
              <a:gd name="T67" fmla="*/ 481 h 592"/>
              <a:gd name="T68" fmla="*/ 624 w 631"/>
              <a:gd name="T69" fmla="*/ 496 h 592"/>
              <a:gd name="T70" fmla="*/ 626 w 631"/>
              <a:gd name="T71" fmla="*/ 507 h 592"/>
              <a:gd name="T72" fmla="*/ 626 w 631"/>
              <a:gd name="T73" fmla="*/ 516 h 592"/>
              <a:gd name="T74" fmla="*/ 631 w 631"/>
              <a:gd name="T75" fmla="*/ 531 h 592"/>
              <a:gd name="T76" fmla="*/ 626 w 631"/>
              <a:gd name="T77" fmla="*/ 539 h 592"/>
              <a:gd name="T78" fmla="*/ 617 w 631"/>
              <a:gd name="T79" fmla="*/ 548 h 592"/>
              <a:gd name="T80" fmla="*/ 592 w 631"/>
              <a:gd name="T81" fmla="*/ 569 h 592"/>
              <a:gd name="T82" fmla="*/ 558 w 631"/>
              <a:gd name="T83" fmla="*/ 592 h 592"/>
              <a:gd name="T84" fmla="*/ 46 w 631"/>
              <a:gd name="T85" fmla="*/ 174 h 592"/>
              <a:gd name="T86" fmla="*/ 25 w 631"/>
              <a:gd name="T87" fmla="*/ 157 h 592"/>
              <a:gd name="T88" fmla="*/ 11 w 631"/>
              <a:gd name="T89" fmla="*/ 138 h 592"/>
              <a:gd name="T90" fmla="*/ 2 w 631"/>
              <a:gd name="T91" fmla="*/ 117 h 592"/>
              <a:gd name="T92" fmla="*/ 0 w 631"/>
              <a:gd name="T93" fmla="*/ 93 h 592"/>
              <a:gd name="T94" fmla="*/ 3 w 631"/>
              <a:gd name="T95" fmla="*/ 89 h 592"/>
              <a:gd name="T96" fmla="*/ 10 w 631"/>
              <a:gd name="T97" fmla="*/ 83 h 592"/>
              <a:gd name="T98" fmla="*/ 17 w 631"/>
              <a:gd name="T99" fmla="*/ 77 h 592"/>
              <a:gd name="T100" fmla="*/ 20 w 631"/>
              <a:gd name="T101" fmla="*/ 69 h 592"/>
              <a:gd name="T102" fmla="*/ 18 w 631"/>
              <a:gd name="T103" fmla="*/ 53 h 592"/>
              <a:gd name="T104" fmla="*/ 13 w 631"/>
              <a:gd name="T105" fmla="*/ 42 h 592"/>
              <a:gd name="T106" fmla="*/ 9 w 631"/>
              <a:gd name="T107" fmla="*/ 34 h 592"/>
              <a:gd name="T108" fmla="*/ 7 w 631"/>
              <a:gd name="T109" fmla="*/ 26 h 592"/>
              <a:gd name="T110" fmla="*/ 13 w 631"/>
              <a:gd name="T111" fmla="*/ 0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06" name="Freeform 458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>
              <a:gd name="T0" fmla="*/ 7 w 40"/>
              <a:gd name="T1" fmla="*/ 31 h 93"/>
              <a:gd name="T2" fmla="*/ 10 w 40"/>
              <a:gd name="T3" fmla="*/ 30 h 93"/>
              <a:gd name="T4" fmla="*/ 14 w 40"/>
              <a:gd name="T5" fmla="*/ 26 h 93"/>
              <a:gd name="T6" fmla="*/ 20 w 40"/>
              <a:gd name="T7" fmla="*/ 20 h 93"/>
              <a:gd name="T8" fmla="*/ 25 w 40"/>
              <a:gd name="T9" fmla="*/ 15 h 93"/>
              <a:gd name="T10" fmla="*/ 35 w 40"/>
              <a:gd name="T11" fmla="*/ 4 h 93"/>
              <a:gd name="T12" fmla="*/ 40 w 40"/>
              <a:gd name="T13" fmla="*/ 0 h 93"/>
              <a:gd name="T14" fmla="*/ 37 w 40"/>
              <a:gd name="T15" fmla="*/ 26 h 93"/>
              <a:gd name="T16" fmla="*/ 35 w 40"/>
              <a:gd name="T17" fmla="*/ 53 h 93"/>
              <a:gd name="T18" fmla="*/ 34 w 40"/>
              <a:gd name="T19" fmla="*/ 65 h 93"/>
              <a:gd name="T20" fmla="*/ 34 w 40"/>
              <a:gd name="T21" fmla="*/ 77 h 93"/>
              <a:gd name="T22" fmla="*/ 35 w 40"/>
              <a:gd name="T23" fmla="*/ 82 h 93"/>
              <a:gd name="T24" fmla="*/ 36 w 40"/>
              <a:gd name="T25" fmla="*/ 86 h 93"/>
              <a:gd name="T26" fmla="*/ 37 w 40"/>
              <a:gd name="T27" fmla="*/ 90 h 93"/>
              <a:gd name="T28" fmla="*/ 40 w 40"/>
              <a:gd name="T29" fmla="*/ 93 h 93"/>
              <a:gd name="T30" fmla="*/ 26 w 40"/>
              <a:gd name="T31" fmla="*/ 93 h 93"/>
              <a:gd name="T32" fmla="*/ 13 w 40"/>
              <a:gd name="T33" fmla="*/ 93 h 93"/>
              <a:gd name="T34" fmla="*/ 11 w 40"/>
              <a:gd name="T35" fmla="*/ 92 h 93"/>
              <a:gd name="T36" fmla="*/ 8 w 40"/>
              <a:gd name="T37" fmla="*/ 91 h 93"/>
              <a:gd name="T38" fmla="*/ 6 w 40"/>
              <a:gd name="T39" fmla="*/ 88 h 93"/>
              <a:gd name="T40" fmla="*/ 4 w 40"/>
              <a:gd name="T41" fmla="*/ 86 h 93"/>
              <a:gd name="T42" fmla="*/ 1 w 40"/>
              <a:gd name="T43" fmla="*/ 80 h 93"/>
              <a:gd name="T44" fmla="*/ 0 w 40"/>
              <a:gd name="T45" fmla="*/ 73 h 93"/>
              <a:gd name="T46" fmla="*/ 1 w 40"/>
              <a:gd name="T47" fmla="*/ 64 h 93"/>
              <a:gd name="T48" fmla="*/ 3 w 40"/>
              <a:gd name="T49" fmla="*/ 50 h 93"/>
              <a:gd name="T50" fmla="*/ 6 w 40"/>
              <a:gd name="T51" fmla="*/ 37 h 93"/>
              <a:gd name="T52" fmla="*/ 7 w 40"/>
              <a:gd name="T53" fmla="*/ 31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07" name="Freeform 459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3883025" y="2047875"/>
            <a:ext cx="295275" cy="273050"/>
          </a:xfrm>
          <a:custGeom>
            <a:avLst/>
            <a:gdLst>
              <a:gd name="T0" fmla="*/ 149 w 664"/>
              <a:gd name="T1" fmla="*/ 445 h 518"/>
              <a:gd name="T2" fmla="*/ 151 w 664"/>
              <a:gd name="T3" fmla="*/ 431 h 518"/>
              <a:gd name="T4" fmla="*/ 146 w 664"/>
              <a:gd name="T5" fmla="*/ 400 h 518"/>
              <a:gd name="T6" fmla="*/ 151 w 664"/>
              <a:gd name="T7" fmla="*/ 353 h 518"/>
              <a:gd name="T8" fmla="*/ 146 w 664"/>
              <a:gd name="T9" fmla="*/ 298 h 518"/>
              <a:gd name="T10" fmla="*/ 134 w 664"/>
              <a:gd name="T11" fmla="*/ 251 h 518"/>
              <a:gd name="T12" fmla="*/ 109 w 664"/>
              <a:gd name="T13" fmla="*/ 241 h 518"/>
              <a:gd name="T14" fmla="*/ 20 w 664"/>
              <a:gd name="T15" fmla="*/ 192 h 518"/>
              <a:gd name="T16" fmla="*/ 24 w 664"/>
              <a:gd name="T17" fmla="*/ 171 h 518"/>
              <a:gd name="T18" fmla="*/ 36 w 664"/>
              <a:gd name="T19" fmla="*/ 159 h 518"/>
              <a:gd name="T20" fmla="*/ 48 w 664"/>
              <a:gd name="T21" fmla="*/ 148 h 518"/>
              <a:gd name="T22" fmla="*/ 100 w 664"/>
              <a:gd name="T23" fmla="*/ 155 h 518"/>
              <a:gd name="T24" fmla="*/ 125 w 664"/>
              <a:gd name="T25" fmla="*/ 152 h 518"/>
              <a:gd name="T26" fmla="*/ 147 w 664"/>
              <a:gd name="T27" fmla="*/ 157 h 518"/>
              <a:gd name="T28" fmla="*/ 165 w 664"/>
              <a:gd name="T29" fmla="*/ 94 h 518"/>
              <a:gd name="T30" fmla="*/ 185 w 664"/>
              <a:gd name="T31" fmla="*/ 109 h 518"/>
              <a:gd name="T32" fmla="*/ 207 w 664"/>
              <a:gd name="T33" fmla="*/ 110 h 518"/>
              <a:gd name="T34" fmla="*/ 236 w 664"/>
              <a:gd name="T35" fmla="*/ 99 h 518"/>
              <a:gd name="T36" fmla="*/ 264 w 664"/>
              <a:gd name="T37" fmla="*/ 80 h 518"/>
              <a:gd name="T38" fmla="*/ 289 w 664"/>
              <a:gd name="T39" fmla="*/ 57 h 518"/>
              <a:gd name="T40" fmla="*/ 308 w 664"/>
              <a:gd name="T41" fmla="*/ 32 h 518"/>
              <a:gd name="T42" fmla="*/ 318 w 664"/>
              <a:gd name="T43" fmla="*/ 12 h 518"/>
              <a:gd name="T44" fmla="*/ 370 w 664"/>
              <a:gd name="T45" fmla="*/ 4 h 518"/>
              <a:gd name="T46" fmla="*/ 404 w 664"/>
              <a:gd name="T47" fmla="*/ 32 h 518"/>
              <a:gd name="T48" fmla="*/ 457 w 664"/>
              <a:gd name="T49" fmla="*/ 61 h 518"/>
              <a:gd name="T50" fmla="*/ 511 w 664"/>
              <a:gd name="T51" fmla="*/ 90 h 518"/>
              <a:gd name="T52" fmla="*/ 552 w 664"/>
              <a:gd name="T53" fmla="*/ 107 h 518"/>
              <a:gd name="T54" fmla="*/ 578 w 664"/>
              <a:gd name="T55" fmla="*/ 116 h 518"/>
              <a:gd name="T56" fmla="*/ 623 w 664"/>
              <a:gd name="T57" fmla="*/ 121 h 518"/>
              <a:gd name="T58" fmla="*/ 658 w 664"/>
              <a:gd name="T59" fmla="*/ 136 h 518"/>
              <a:gd name="T60" fmla="*/ 645 w 664"/>
              <a:gd name="T61" fmla="*/ 166 h 518"/>
              <a:gd name="T62" fmla="*/ 620 w 664"/>
              <a:gd name="T63" fmla="*/ 236 h 518"/>
              <a:gd name="T64" fmla="*/ 598 w 664"/>
              <a:gd name="T65" fmla="*/ 272 h 518"/>
              <a:gd name="T66" fmla="*/ 585 w 664"/>
              <a:gd name="T67" fmla="*/ 286 h 518"/>
              <a:gd name="T68" fmla="*/ 599 w 664"/>
              <a:gd name="T69" fmla="*/ 298 h 518"/>
              <a:gd name="T70" fmla="*/ 618 w 664"/>
              <a:gd name="T71" fmla="*/ 307 h 518"/>
              <a:gd name="T72" fmla="*/ 623 w 664"/>
              <a:gd name="T73" fmla="*/ 334 h 518"/>
              <a:gd name="T74" fmla="*/ 620 w 664"/>
              <a:gd name="T75" fmla="*/ 347 h 518"/>
              <a:gd name="T76" fmla="*/ 618 w 664"/>
              <a:gd name="T77" fmla="*/ 372 h 518"/>
              <a:gd name="T78" fmla="*/ 622 w 664"/>
              <a:gd name="T79" fmla="*/ 399 h 518"/>
              <a:gd name="T80" fmla="*/ 632 w 664"/>
              <a:gd name="T81" fmla="*/ 423 h 518"/>
              <a:gd name="T82" fmla="*/ 608 w 664"/>
              <a:gd name="T83" fmla="*/ 457 h 518"/>
              <a:gd name="T84" fmla="*/ 569 w 664"/>
              <a:gd name="T85" fmla="*/ 484 h 518"/>
              <a:gd name="T86" fmla="*/ 542 w 664"/>
              <a:gd name="T87" fmla="*/ 489 h 518"/>
              <a:gd name="T88" fmla="*/ 509 w 664"/>
              <a:gd name="T89" fmla="*/ 481 h 518"/>
              <a:gd name="T90" fmla="*/ 477 w 664"/>
              <a:gd name="T91" fmla="*/ 460 h 518"/>
              <a:gd name="T92" fmla="*/ 463 w 664"/>
              <a:gd name="T93" fmla="*/ 456 h 518"/>
              <a:gd name="T94" fmla="*/ 443 w 664"/>
              <a:gd name="T95" fmla="*/ 457 h 518"/>
              <a:gd name="T96" fmla="*/ 423 w 664"/>
              <a:gd name="T97" fmla="*/ 465 h 518"/>
              <a:gd name="T98" fmla="*/ 406 w 664"/>
              <a:gd name="T99" fmla="*/ 477 h 518"/>
              <a:gd name="T100" fmla="*/ 388 w 664"/>
              <a:gd name="T101" fmla="*/ 503 h 518"/>
              <a:gd name="T102" fmla="*/ 385 w 664"/>
              <a:gd name="T103" fmla="*/ 517 h 518"/>
              <a:gd name="T104" fmla="*/ 333 w 664"/>
              <a:gd name="T105" fmla="*/ 515 h 518"/>
              <a:gd name="T106" fmla="*/ 317 w 664"/>
              <a:gd name="T107" fmla="*/ 507 h 518"/>
              <a:gd name="T108" fmla="*/ 307 w 664"/>
              <a:gd name="T109" fmla="*/ 500 h 518"/>
              <a:gd name="T110" fmla="*/ 296 w 664"/>
              <a:gd name="T111" fmla="*/ 508 h 518"/>
              <a:gd name="T112" fmla="*/ 287 w 664"/>
              <a:gd name="T113" fmla="*/ 516 h 518"/>
              <a:gd name="T114" fmla="*/ 268 w 664"/>
              <a:gd name="T115" fmla="*/ 516 h 518"/>
              <a:gd name="T116" fmla="*/ 227 w 664"/>
              <a:gd name="T117" fmla="*/ 506 h 518"/>
              <a:gd name="T118" fmla="*/ 185 w 664"/>
              <a:gd name="T119" fmla="*/ 487 h 518"/>
              <a:gd name="T120" fmla="*/ 160 w 664"/>
              <a:gd name="T121" fmla="*/ 469 h 518"/>
              <a:gd name="T122" fmla="*/ 146 w 664"/>
              <a:gd name="T123" fmla="*/ 45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08" name="Freeform 460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>
              <a:gd name="T0" fmla="*/ 332 w 352"/>
              <a:gd name="T1" fmla="*/ 91 h 153"/>
              <a:gd name="T2" fmla="*/ 352 w 352"/>
              <a:gd name="T3" fmla="*/ 153 h 153"/>
              <a:gd name="T4" fmla="*/ 326 w 352"/>
              <a:gd name="T5" fmla="*/ 141 h 153"/>
              <a:gd name="T6" fmla="*/ 299 w 352"/>
              <a:gd name="T7" fmla="*/ 129 h 153"/>
              <a:gd name="T8" fmla="*/ 266 w 352"/>
              <a:gd name="T9" fmla="*/ 141 h 153"/>
              <a:gd name="T10" fmla="*/ 232 w 352"/>
              <a:gd name="T11" fmla="*/ 141 h 153"/>
              <a:gd name="T12" fmla="*/ 227 w 352"/>
              <a:gd name="T13" fmla="*/ 135 h 153"/>
              <a:gd name="T14" fmla="*/ 226 w 352"/>
              <a:gd name="T15" fmla="*/ 135 h 153"/>
              <a:gd name="T16" fmla="*/ 219 w 352"/>
              <a:gd name="T17" fmla="*/ 129 h 153"/>
              <a:gd name="T18" fmla="*/ 213 w 352"/>
              <a:gd name="T19" fmla="*/ 125 h 153"/>
              <a:gd name="T20" fmla="*/ 205 w 352"/>
              <a:gd name="T21" fmla="*/ 121 h 153"/>
              <a:gd name="T22" fmla="*/ 197 w 352"/>
              <a:gd name="T23" fmla="*/ 118 h 153"/>
              <a:gd name="T24" fmla="*/ 181 w 352"/>
              <a:gd name="T25" fmla="*/ 113 h 153"/>
              <a:gd name="T26" fmla="*/ 163 w 352"/>
              <a:gd name="T27" fmla="*/ 110 h 153"/>
              <a:gd name="T28" fmla="*/ 126 w 352"/>
              <a:gd name="T29" fmla="*/ 107 h 153"/>
              <a:gd name="T30" fmla="*/ 86 w 352"/>
              <a:gd name="T31" fmla="*/ 104 h 153"/>
              <a:gd name="T32" fmla="*/ 85 w 352"/>
              <a:gd name="T33" fmla="*/ 94 h 153"/>
              <a:gd name="T34" fmla="*/ 82 w 352"/>
              <a:gd name="T35" fmla="*/ 84 h 153"/>
              <a:gd name="T36" fmla="*/ 80 w 352"/>
              <a:gd name="T37" fmla="*/ 75 h 153"/>
              <a:gd name="T38" fmla="*/ 75 w 352"/>
              <a:gd name="T39" fmla="*/ 67 h 153"/>
              <a:gd name="T40" fmla="*/ 71 w 352"/>
              <a:gd name="T41" fmla="*/ 59 h 153"/>
              <a:gd name="T42" fmla="*/ 67 w 352"/>
              <a:gd name="T43" fmla="*/ 52 h 153"/>
              <a:gd name="T44" fmla="*/ 61 w 352"/>
              <a:gd name="T45" fmla="*/ 44 h 153"/>
              <a:gd name="T46" fmla="*/ 56 w 352"/>
              <a:gd name="T47" fmla="*/ 37 h 153"/>
              <a:gd name="T48" fmla="*/ 44 w 352"/>
              <a:gd name="T49" fmla="*/ 26 h 153"/>
              <a:gd name="T50" fmla="*/ 29 w 352"/>
              <a:gd name="T51" fmla="*/ 16 h 153"/>
              <a:gd name="T52" fmla="*/ 15 w 352"/>
              <a:gd name="T53" fmla="*/ 7 h 153"/>
              <a:gd name="T54" fmla="*/ 0 w 352"/>
              <a:gd name="T55" fmla="*/ 0 h 153"/>
              <a:gd name="T56" fmla="*/ 7 w 352"/>
              <a:gd name="T57" fmla="*/ 0 h 153"/>
              <a:gd name="T58" fmla="*/ 60 w 352"/>
              <a:gd name="T59" fmla="*/ 18 h 153"/>
              <a:gd name="T60" fmla="*/ 106 w 352"/>
              <a:gd name="T61" fmla="*/ 30 h 153"/>
              <a:gd name="T62" fmla="*/ 134 w 352"/>
              <a:gd name="T63" fmla="*/ 18 h 153"/>
              <a:gd name="T64" fmla="*/ 180 w 352"/>
              <a:gd name="T65" fmla="*/ 36 h 153"/>
              <a:gd name="T66" fmla="*/ 206 w 352"/>
              <a:gd name="T67" fmla="*/ 55 h 153"/>
              <a:gd name="T68" fmla="*/ 246 w 352"/>
              <a:gd name="T69" fmla="*/ 49 h 153"/>
              <a:gd name="T70" fmla="*/ 286 w 352"/>
              <a:gd name="T71" fmla="*/ 61 h 153"/>
              <a:gd name="T72" fmla="*/ 313 w 352"/>
              <a:gd name="T73" fmla="*/ 79 h 153"/>
              <a:gd name="T74" fmla="*/ 332 w 352"/>
              <a:gd name="T75" fmla="*/ 91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09" name="Freeform 461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>
              <a:gd name="T0" fmla="*/ 230 w 331"/>
              <a:gd name="T1" fmla="*/ 40 h 327"/>
              <a:gd name="T2" fmla="*/ 193 w 331"/>
              <a:gd name="T3" fmla="*/ 56 h 327"/>
              <a:gd name="T4" fmla="*/ 182 w 331"/>
              <a:gd name="T5" fmla="*/ 67 h 327"/>
              <a:gd name="T6" fmla="*/ 181 w 331"/>
              <a:gd name="T7" fmla="*/ 81 h 327"/>
              <a:gd name="T8" fmla="*/ 184 w 331"/>
              <a:gd name="T9" fmla="*/ 94 h 327"/>
              <a:gd name="T10" fmla="*/ 177 w 331"/>
              <a:gd name="T11" fmla="*/ 102 h 327"/>
              <a:gd name="T12" fmla="*/ 168 w 331"/>
              <a:gd name="T13" fmla="*/ 105 h 327"/>
              <a:gd name="T14" fmla="*/ 160 w 331"/>
              <a:gd name="T15" fmla="*/ 98 h 327"/>
              <a:gd name="T16" fmla="*/ 149 w 331"/>
              <a:gd name="T17" fmla="*/ 85 h 327"/>
              <a:gd name="T18" fmla="*/ 126 w 331"/>
              <a:gd name="T19" fmla="*/ 74 h 327"/>
              <a:gd name="T20" fmla="*/ 127 w 331"/>
              <a:gd name="T21" fmla="*/ 96 h 327"/>
              <a:gd name="T22" fmla="*/ 139 w 331"/>
              <a:gd name="T23" fmla="*/ 116 h 327"/>
              <a:gd name="T24" fmla="*/ 154 w 331"/>
              <a:gd name="T25" fmla="*/ 129 h 327"/>
              <a:gd name="T26" fmla="*/ 159 w 331"/>
              <a:gd name="T27" fmla="*/ 130 h 327"/>
              <a:gd name="T28" fmla="*/ 159 w 331"/>
              <a:gd name="T29" fmla="*/ 177 h 327"/>
              <a:gd name="T30" fmla="*/ 159 w 331"/>
              <a:gd name="T31" fmla="*/ 237 h 327"/>
              <a:gd name="T32" fmla="*/ 156 w 331"/>
              <a:gd name="T33" fmla="*/ 251 h 327"/>
              <a:gd name="T34" fmla="*/ 147 w 331"/>
              <a:gd name="T35" fmla="*/ 259 h 327"/>
              <a:gd name="T36" fmla="*/ 145 w 331"/>
              <a:gd name="T37" fmla="*/ 264 h 327"/>
              <a:gd name="T38" fmla="*/ 162 w 331"/>
              <a:gd name="T39" fmla="*/ 276 h 327"/>
              <a:gd name="T40" fmla="*/ 167 w 331"/>
              <a:gd name="T41" fmla="*/ 286 h 327"/>
              <a:gd name="T42" fmla="*/ 155 w 331"/>
              <a:gd name="T43" fmla="*/ 295 h 327"/>
              <a:gd name="T44" fmla="*/ 140 w 331"/>
              <a:gd name="T45" fmla="*/ 297 h 327"/>
              <a:gd name="T46" fmla="*/ 130 w 331"/>
              <a:gd name="T47" fmla="*/ 307 h 327"/>
              <a:gd name="T48" fmla="*/ 126 w 331"/>
              <a:gd name="T49" fmla="*/ 321 h 327"/>
              <a:gd name="T50" fmla="*/ 121 w 331"/>
              <a:gd name="T51" fmla="*/ 300 h 327"/>
              <a:gd name="T52" fmla="*/ 124 w 331"/>
              <a:gd name="T53" fmla="*/ 288 h 327"/>
              <a:gd name="T54" fmla="*/ 109 w 331"/>
              <a:gd name="T55" fmla="*/ 286 h 327"/>
              <a:gd name="T56" fmla="*/ 93 w 331"/>
              <a:gd name="T57" fmla="*/ 292 h 327"/>
              <a:gd name="T58" fmla="*/ 79 w 331"/>
              <a:gd name="T59" fmla="*/ 296 h 327"/>
              <a:gd name="T60" fmla="*/ 73 w 331"/>
              <a:gd name="T61" fmla="*/ 242 h 327"/>
              <a:gd name="T62" fmla="*/ 79 w 331"/>
              <a:gd name="T63" fmla="*/ 216 h 327"/>
              <a:gd name="T64" fmla="*/ 48 w 331"/>
              <a:gd name="T65" fmla="*/ 211 h 327"/>
              <a:gd name="T66" fmla="*/ 28 w 331"/>
              <a:gd name="T67" fmla="*/ 198 h 327"/>
              <a:gd name="T68" fmla="*/ 13 w 331"/>
              <a:gd name="T69" fmla="*/ 173 h 327"/>
              <a:gd name="T70" fmla="*/ 0 w 331"/>
              <a:gd name="T71" fmla="*/ 130 h 327"/>
              <a:gd name="T72" fmla="*/ 28 w 331"/>
              <a:gd name="T73" fmla="*/ 111 h 327"/>
              <a:gd name="T74" fmla="*/ 50 w 331"/>
              <a:gd name="T75" fmla="*/ 81 h 327"/>
              <a:gd name="T76" fmla="*/ 73 w 331"/>
              <a:gd name="T77" fmla="*/ 55 h 327"/>
              <a:gd name="T78" fmla="*/ 115 w 331"/>
              <a:gd name="T79" fmla="*/ 41 h 327"/>
              <a:gd name="T80" fmla="*/ 180 w 331"/>
              <a:gd name="T81" fmla="*/ 14 h 327"/>
              <a:gd name="T82" fmla="*/ 218 w 331"/>
              <a:gd name="T83" fmla="*/ 7 h 327"/>
              <a:gd name="T84" fmla="*/ 249 w 331"/>
              <a:gd name="T85" fmla="*/ 14 h 327"/>
              <a:gd name="T86" fmla="*/ 271 w 331"/>
              <a:gd name="T87" fmla="*/ 27 h 327"/>
              <a:gd name="T88" fmla="*/ 292 w 331"/>
              <a:gd name="T89" fmla="*/ 30 h 327"/>
              <a:gd name="T90" fmla="*/ 307 w 331"/>
              <a:gd name="T91" fmla="*/ 20 h 327"/>
              <a:gd name="T92" fmla="*/ 327 w 331"/>
              <a:gd name="T93" fmla="*/ 6 h 327"/>
              <a:gd name="T94" fmla="*/ 330 w 331"/>
              <a:gd name="T95" fmla="*/ 32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10" name="Freeform 462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44 w 153"/>
              <a:gd name="T3" fmla="*/ 2 h 49"/>
              <a:gd name="T4" fmla="*/ 83 w 153"/>
              <a:gd name="T5" fmla="*/ 6 h 49"/>
              <a:gd name="T6" fmla="*/ 103 w 153"/>
              <a:gd name="T7" fmla="*/ 8 h 49"/>
              <a:gd name="T8" fmla="*/ 121 w 153"/>
              <a:gd name="T9" fmla="*/ 7 h 49"/>
              <a:gd name="T10" fmla="*/ 130 w 153"/>
              <a:gd name="T11" fmla="*/ 6 h 49"/>
              <a:gd name="T12" fmla="*/ 137 w 153"/>
              <a:gd name="T13" fmla="*/ 5 h 49"/>
              <a:gd name="T14" fmla="*/ 145 w 153"/>
              <a:gd name="T15" fmla="*/ 3 h 49"/>
              <a:gd name="T16" fmla="*/ 153 w 153"/>
              <a:gd name="T17" fmla="*/ 0 h 49"/>
              <a:gd name="T18" fmla="*/ 153 w 153"/>
              <a:gd name="T19" fmla="*/ 9 h 49"/>
              <a:gd name="T20" fmla="*/ 153 w 153"/>
              <a:gd name="T21" fmla="*/ 25 h 49"/>
              <a:gd name="T22" fmla="*/ 143 w 153"/>
              <a:gd name="T23" fmla="*/ 31 h 49"/>
              <a:gd name="T24" fmla="*/ 133 w 153"/>
              <a:gd name="T25" fmla="*/ 36 h 49"/>
              <a:gd name="T26" fmla="*/ 124 w 153"/>
              <a:gd name="T27" fmla="*/ 40 h 49"/>
              <a:gd name="T28" fmla="*/ 114 w 153"/>
              <a:gd name="T29" fmla="*/ 44 h 49"/>
              <a:gd name="T30" fmla="*/ 106 w 153"/>
              <a:gd name="T31" fmla="*/ 46 h 49"/>
              <a:gd name="T32" fmla="*/ 99 w 153"/>
              <a:gd name="T33" fmla="*/ 48 h 49"/>
              <a:gd name="T34" fmla="*/ 92 w 153"/>
              <a:gd name="T35" fmla="*/ 49 h 49"/>
              <a:gd name="T36" fmla="*/ 87 w 153"/>
              <a:gd name="T37" fmla="*/ 49 h 49"/>
              <a:gd name="T38" fmla="*/ 72 w 153"/>
              <a:gd name="T39" fmla="*/ 48 h 49"/>
              <a:gd name="T40" fmla="*/ 60 w 153"/>
              <a:gd name="T41" fmla="*/ 46 h 49"/>
              <a:gd name="T42" fmla="*/ 50 w 153"/>
              <a:gd name="T43" fmla="*/ 43 h 49"/>
              <a:gd name="T44" fmla="*/ 41 w 153"/>
              <a:gd name="T45" fmla="*/ 38 h 49"/>
              <a:gd name="T46" fmla="*/ 22 w 153"/>
              <a:gd name="T47" fmla="*/ 29 h 49"/>
              <a:gd name="T48" fmla="*/ 0 w 153"/>
              <a:gd name="T49" fmla="*/ 19 h 49"/>
              <a:gd name="T50" fmla="*/ 0 w 153"/>
              <a:gd name="T51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11" name="Freeform 463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>
              <a:gd name="T0" fmla="*/ 194 w 426"/>
              <a:gd name="T1" fmla="*/ 16 h 299"/>
              <a:gd name="T2" fmla="*/ 216 w 426"/>
              <a:gd name="T3" fmla="*/ 22 h 299"/>
              <a:gd name="T4" fmla="*/ 230 w 426"/>
              <a:gd name="T5" fmla="*/ 29 h 299"/>
              <a:gd name="T6" fmla="*/ 253 w 426"/>
              <a:gd name="T7" fmla="*/ 35 h 299"/>
              <a:gd name="T8" fmla="*/ 279 w 426"/>
              <a:gd name="T9" fmla="*/ 37 h 299"/>
              <a:gd name="T10" fmla="*/ 300 w 426"/>
              <a:gd name="T11" fmla="*/ 37 h 299"/>
              <a:gd name="T12" fmla="*/ 319 w 426"/>
              <a:gd name="T13" fmla="*/ 34 h 299"/>
              <a:gd name="T14" fmla="*/ 329 w 426"/>
              <a:gd name="T15" fmla="*/ 29 h 299"/>
              <a:gd name="T16" fmla="*/ 365 w 426"/>
              <a:gd name="T17" fmla="*/ 25 h 299"/>
              <a:gd name="T18" fmla="*/ 372 w 426"/>
              <a:gd name="T19" fmla="*/ 49 h 299"/>
              <a:gd name="T20" fmla="*/ 383 w 426"/>
              <a:gd name="T21" fmla="*/ 74 h 299"/>
              <a:gd name="T22" fmla="*/ 391 w 426"/>
              <a:gd name="T23" fmla="*/ 84 h 299"/>
              <a:gd name="T24" fmla="*/ 400 w 426"/>
              <a:gd name="T25" fmla="*/ 92 h 299"/>
              <a:gd name="T26" fmla="*/ 412 w 426"/>
              <a:gd name="T27" fmla="*/ 97 h 299"/>
              <a:gd name="T28" fmla="*/ 425 w 426"/>
              <a:gd name="T29" fmla="*/ 99 h 299"/>
              <a:gd name="T30" fmla="*/ 425 w 426"/>
              <a:gd name="T31" fmla="*/ 120 h 299"/>
              <a:gd name="T32" fmla="*/ 425 w 426"/>
              <a:gd name="T33" fmla="*/ 142 h 299"/>
              <a:gd name="T34" fmla="*/ 416 w 426"/>
              <a:gd name="T35" fmla="*/ 158 h 299"/>
              <a:gd name="T36" fmla="*/ 412 w 426"/>
              <a:gd name="T37" fmla="*/ 170 h 299"/>
              <a:gd name="T38" fmla="*/ 412 w 426"/>
              <a:gd name="T39" fmla="*/ 181 h 299"/>
              <a:gd name="T40" fmla="*/ 415 w 426"/>
              <a:gd name="T41" fmla="*/ 190 h 299"/>
              <a:gd name="T42" fmla="*/ 423 w 426"/>
              <a:gd name="T43" fmla="*/ 211 h 299"/>
              <a:gd name="T44" fmla="*/ 426 w 426"/>
              <a:gd name="T45" fmla="*/ 226 h 299"/>
              <a:gd name="T46" fmla="*/ 425 w 426"/>
              <a:gd name="T47" fmla="*/ 247 h 299"/>
              <a:gd name="T48" fmla="*/ 426 w 426"/>
              <a:gd name="T49" fmla="*/ 274 h 299"/>
              <a:gd name="T50" fmla="*/ 423 w 426"/>
              <a:gd name="T51" fmla="*/ 285 h 299"/>
              <a:gd name="T52" fmla="*/ 412 w 426"/>
              <a:gd name="T53" fmla="*/ 296 h 299"/>
              <a:gd name="T54" fmla="*/ 380 w 426"/>
              <a:gd name="T55" fmla="*/ 298 h 299"/>
              <a:gd name="T56" fmla="*/ 370 w 426"/>
              <a:gd name="T57" fmla="*/ 299 h 299"/>
              <a:gd name="T58" fmla="*/ 360 w 426"/>
              <a:gd name="T59" fmla="*/ 296 h 299"/>
              <a:gd name="T60" fmla="*/ 351 w 426"/>
              <a:gd name="T61" fmla="*/ 290 h 299"/>
              <a:gd name="T62" fmla="*/ 338 w 426"/>
              <a:gd name="T63" fmla="*/ 278 h 299"/>
              <a:gd name="T64" fmla="*/ 324 w 426"/>
              <a:gd name="T65" fmla="*/ 261 h 299"/>
              <a:gd name="T66" fmla="*/ 311 w 426"/>
              <a:gd name="T67" fmla="*/ 253 h 299"/>
              <a:gd name="T68" fmla="*/ 294 w 426"/>
              <a:gd name="T69" fmla="*/ 251 h 299"/>
              <a:gd name="T70" fmla="*/ 278 w 426"/>
              <a:gd name="T71" fmla="*/ 232 h 299"/>
              <a:gd name="T72" fmla="*/ 274 w 426"/>
              <a:gd name="T73" fmla="*/ 210 h 299"/>
              <a:gd name="T74" fmla="*/ 269 w 426"/>
              <a:gd name="T75" fmla="*/ 197 h 299"/>
              <a:gd name="T76" fmla="*/ 261 w 426"/>
              <a:gd name="T77" fmla="*/ 184 h 299"/>
              <a:gd name="T78" fmla="*/ 251 w 426"/>
              <a:gd name="T79" fmla="*/ 173 h 299"/>
              <a:gd name="T80" fmla="*/ 238 w 426"/>
              <a:gd name="T81" fmla="*/ 165 h 299"/>
              <a:gd name="T82" fmla="*/ 222 w 426"/>
              <a:gd name="T83" fmla="*/ 161 h 299"/>
              <a:gd name="T84" fmla="*/ 204 w 426"/>
              <a:gd name="T85" fmla="*/ 161 h 299"/>
              <a:gd name="T86" fmla="*/ 188 w 426"/>
              <a:gd name="T87" fmla="*/ 163 h 299"/>
              <a:gd name="T88" fmla="*/ 173 w 426"/>
              <a:gd name="T89" fmla="*/ 168 h 299"/>
              <a:gd name="T90" fmla="*/ 160 w 426"/>
              <a:gd name="T91" fmla="*/ 176 h 299"/>
              <a:gd name="T92" fmla="*/ 141 w 426"/>
              <a:gd name="T93" fmla="*/ 191 h 299"/>
              <a:gd name="T94" fmla="*/ 118 w 426"/>
              <a:gd name="T95" fmla="*/ 215 h 299"/>
              <a:gd name="T96" fmla="*/ 105 w 426"/>
              <a:gd name="T97" fmla="*/ 218 h 299"/>
              <a:gd name="T98" fmla="*/ 100 w 426"/>
              <a:gd name="T99" fmla="*/ 201 h 299"/>
              <a:gd name="T100" fmla="*/ 90 w 426"/>
              <a:gd name="T101" fmla="*/ 186 h 299"/>
              <a:gd name="T102" fmla="*/ 76 w 426"/>
              <a:gd name="T103" fmla="*/ 171 h 299"/>
              <a:gd name="T104" fmla="*/ 50 w 426"/>
              <a:gd name="T105" fmla="*/ 153 h 299"/>
              <a:gd name="T106" fmla="*/ 24 w 426"/>
              <a:gd name="T107" fmla="*/ 134 h 299"/>
              <a:gd name="T108" fmla="*/ 8 w 426"/>
              <a:gd name="T109" fmla="*/ 119 h 299"/>
              <a:gd name="T110" fmla="*/ 15 w 426"/>
              <a:gd name="T111" fmla="*/ 101 h 299"/>
              <a:gd name="T112" fmla="*/ 46 w 426"/>
              <a:gd name="T113" fmla="*/ 77 h 299"/>
              <a:gd name="T114" fmla="*/ 75 w 426"/>
              <a:gd name="T115" fmla="*/ 48 h 299"/>
              <a:gd name="T116" fmla="*/ 98 w 426"/>
              <a:gd name="T117" fmla="*/ 17 h 299"/>
              <a:gd name="T118" fmla="*/ 179 w 426"/>
              <a:gd name="T119" fmla="*/ 1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12" name="Freeform 464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>
              <a:gd name="T0" fmla="*/ 477 w 1594"/>
              <a:gd name="T1" fmla="*/ 107 h 1670"/>
              <a:gd name="T2" fmla="*/ 485 w 1594"/>
              <a:gd name="T3" fmla="*/ 185 h 1670"/>
              <a:gd name="T4" fmla="*/ 578 w 1594"/>
              <a:gd name="T5" fmla="*/ 287 h 1670"/>
              <a:gd name="T6" fmla="*/ 701 w 1594"/>
              <a:gd name="T7" fmla="*/ 459 h 1670"/>
              <a:gd name="T8" fmla="*/ 795 w 1594"/>
              <a:gd name="T9" fmla="*/ 499 h 1670"/>
              <a:gd name="T10" fmla="*/ 877 w 1594"/>
              <a:gd name="T11" fmla="*/ 493 h 1670"/>
              <a:gd name="T12" fmla="*/ 930 w 1594"/>
              <a:gd name="T13" fmla="*/ 537 h 1670"/>
              <a:gd name="T14" fmla="*/ 1102 w 1594"/>
              <a:gd name="T15" fmla="*/ 567 h 1670"/>
              <a:gd name="T16" fmla="*/ 1121 w 1594"/>
              <a:gd name="T17" fmla="*/ 461 h 1670"/>
              <a:gd name="T18" fmla="*/ 1179 w 1594"/>
              <a:gd name="T19" fmla="*/ 539 h 1670"/>
              <a:gd name="T20" fmla="*/ 1243 w 1594"/>
              <a:gd name="T21" fmla="*/ 561 h 1670"/>
              <a:gd name="T22" fmla="*/ 1299 w 1594"/>
              <a:gd name="T23" fmla="*/ 498 h 1670"/>
              <a:gd name="T24" fmla="*/ 1404 w 1594"/>
              <a:gd name="T25" fmla="*/ 409 h 1670"/>
              <a:gd name="T26" fmla="*/ 1549 w 1594"/>
              <a:gd name="T27" fmla="*/ 428 h 1670"/>
              <a:gd name="T28" fmla="*/ 1579 w 1594"/>
              <a:gd name="T29" fmla="*/ 498 h 1670"/>
              <a:gd name="T30" fmla="*/ 1504 w 1594"/>
              <a:gd name="T31" fmla="*/ 542 h 1670"/>
              <a:gd name="T32" fmla="*/ 1485 w 1594"/>
              <a:gd name="T33" fmla="*/ 679 h 1670"/>
              <a:gd name="T34" fmla="*/ 1429 w 1594"/>
              <a:gd name="T35" fmla="*/ 704 h 1670"/>
              <a:gd name="T36" fmla="*/ 1408 w 1594"/>
              <a:gd name="T37" fmla="*/ 814 h 1670"/>
              <a:gd name="T38" fmla="*/ 1321 w 1594"/>
              <a:gd name="T39" fmla="*/ 754 h 1670"/>
              <a:gd name="T40" fmla="*/ 1323 w 1594"/>
              <a:gd name="T41" fmla="*/ 698 h 1670"/>
              <a:gd name="T42" fmla="*/ 1225 w 1594"/>
              <a:gd name="T43" fmla="*/ 638 h 1670"/>
              <a:gd name="T44" fmla="*/ 1187 w 1594"/>
              <a:gd name="T45" fmla="*/ 588 h 1670"/>
              <a:gd name="T46" fmla="*/ 1131 w 1594"/>
              <a:gd name="T47" fmla="*/ 575 h 1670"/>
              <a:gd name="T48" fmla="*/ 1127 w 1594"/>
              <a:gd name="T49" fmla="*/ 625 h 1670"/>
              <a:gd name="T50" fmla="*/ 1117 w 1594"/>
              <a:gd name="T51" fmla="*/ 683 h 1670"/>
              <a:gd name="T52" fmla="*/ 1160 w 1594"/>
              <a:gd name="T53" fmla="*/ 735 h 1670"/>
              <a:gd name="T54" fmla="*/ 1149 w 1594"/>
              <a:gd name="T55" fmla="*/ 843 h 1670"/>
              <a:gd name="T56" fmla="*/ 1075 w 1594"/>
              <a:gd name="T57" fmla="*/ 864 h 1670"/>
              <a:gd name="T58" fmla="*/ 1049 w 1594"/>
              <a:gd name="T59" fmla="*/ 937 h 1670"/>
              <a:gd name="T60" fmla="*/ 954 w 1594"/>
              <a:gd name="T61" fmla="*/ 1001 h 1670"/>
              <a:gd name="T62" fmla="*/ 912 w 1594"/>
              <a:gd name="T63" fmla="*/ 1050 h 1670"/>
              <a:gd name="T64" fmla="*/ 780 w 1594"/>
              <a:gd name="T65" fmla="*/ 1188 h 1670"/>
              <a:gd name="T66" fmla="*/ 723 w 1594"/>
              <a:gd name="T67" fmla="*/ 1233 h 1670"/>
              <a:gd name="T68" fmla="*/ 744 w 1594"/>
              <a:gd name="T69" fmla="*/ 1344 h 1670"/>
              <a:gd name="T70" fmla="*/ 712 w 1594"/>
              <a:gd name="T71" fmla="*/ 1445 h 1670"/>
              <a:gd name="T72" fmla="*/ 722 w 1594"/>
              <a:gd name="T73" fmla="*/ 1524 h 1670"/>
              <a:gd name="T74" fmla="*/ 693 w 1594"/>
              <a:gd name="T75" fmla="*/ 1576 h 1670"/>
              <a:gd name="T76" fmla="*/ 595 w 1594"/>
              <a:gd name="T77" fmla="*/ 1663 h 1670"/>
              <a:gd name="T78" fmla="*/ 516 w 1594"/>
              <a:gd name="T79" fmla="*/ 1529 h 1670"/>
              <a:gd name="T80" fmla="*/ 419 w 1594"/>
              <a:gd name="T81" fmla="*/ 1334 h 1670"/>
              <a:gd name="T82" fmla="*/ 301 w 1594"/>
              <a:gd name="T83" fmla="*/ 1114 h 1670"/>
              <a:gd name="T84" fmla="*/ 259 w 1594"/>
              <a:gd name="T85" fmla="*/ 861 h 1670"/>
              <a:gd name="T86" fmla="*/ 230 w 1594"/>
              <a:gd name="T87" fmla="*/ 814 h 1670"/>
              <a:gd name="T88" fmla="*/ 164 w 1594"/>
              <a:gd name="T89" fmla="*/ 900 h 1670"/>
              <a:gd name="T90" fmla="*/ 90 w 1594"/>
              <a:gd name="T91" fmla="*/ 876 h 1670"/>
              <a:gd name="T92" fmla="*/ 51 w 1594"/>
              <a:gd name="T93" fmla="*/ 798 h 1670"/>
              <a:gd name="T94" fmla="*/ 30 w 1594"/>
              <a:gd name="T95" fmla="*/ 771 h 1670"/>
              <a:gd name="T96" fmla="*/ 32 w 1594"/>
              <a:gd name="T97" fmla="*/ 708 h 1670"/>
              <a:gd name="T98" fmla="*/ 159 w 1594"/>
              <a:gd name="T99" fmla="*/ 659 h 1670"/>
              <a:gd name="T100" fmla="*/ 92 w 1594"/>
              <a:gd name="T101" fmla="*/ 569 h 1670"/>
              <a:gd name="T102" fmla="*/ 59 w 1594"/>
              <a:gd name="T103" fmla="*/ 500 h 1670"/>
              <a:gd name="T104" fmla="*/ 162 w 1594"/>
              <a:gd name="T105" fmla="*/ 459 h 1670"/>
              <a:gd name="T106" fmla="*/ 270 w 1594"/>
              <a:gd name="T107" fmla="*/ 294 h 1670"/>
              <a:gd name="T108" fmla="*/ 274 w 1594"/>
              <a:gd name="T109" fmla="*/ 230 h 1670"/>
              <a:gd name="T110" fmla="*/ 227 w 1594"/>
              <a:gd name="T111" fmla="*/ 142 h 1670"/>
              <a:gd name="T112" fmla="*/ 322 w 1594"/>
              <a:gd name="T113" fmla="*/ 54 h 1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13" name="Freeform 465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>
              <a:gd name="T0" fmla="*/ 53 w 359"/>
              <a:gd name="T1" fmla="*/ 382 h 394"/>
              <a:gd name="T2" fmla="*/ 53 w 359"/>
              <a:gd name="T3" fmla="*/ 358 h 394"/>
              <a:gd name="T4" fmla="*/ 53 w 359"/>
              <a:gd name="T5" fmla="*/ 333 h 394"/>
              <a:gd name="T6" fmla="*/ 50 w 359"/>
              <a:gd name="T7" fmla="*/ 312 h 394"/>
              <a:gd name="T8" fmla="*/ 43 w 359"/>
              <a:gd name="T9" fmla="*/ 293 h 394"/>
              <a:gd name="T10" fmla="*/ 35 w 359"/>
              <a:gd name="T11" fmla="*/ 277 h 394"/>
              <a:gd name="T12" fmla="*/ 13 w 359"/>
              <a:gd name="T13" fmla="*/ 245 h 394"/>
              <a:gd name="T14" fmla="*/ 0 w 359"/>
              <a:gd name="T15" fmla="*/ 185 h 394"/>
              <a:gd name="T16" fmla="*/ 33 w 359"/>
              <a:gd name="T17" fmla="*/ 181 h 394"/>
              <a:gd name="T18" fmla="*/ 40 w 359"/>
              <a:gd name="T19" fmla="*/ 169 h 394"/>
              <a:gd name="T20" fmla="*/ 41 w 359"/>
              <a:gd name="T21" fmla="*/ 150 h 394"/>
              <a:gd name="T22" fmla="*/ 38 w 359"/>
              <a:gd name="T23" fmla="*/ 107 h 394"/>
              <a:gd name="T24" fmla="*/ 31 w 359"/>
              <a:gd name="T25" fmla="*/ 65 h 394"/>
              <a:gd name="T26" fmla="*/ 32 w 359"/>
              <a:gd name="T27" fmla="*/ 47 h 394"/>
              <a:gd name="T28" fmla="*/ 36 w 359"/>
              <a:gd name="T29" fmla="*/ 36 h 394"/>
              <a:gd name="T30" fmla="*/ 120 w 359"/>
              <a:gd name="T31" fmla="*/ 31 h 394"/>
              <a:gd name="T32" fmla="*/ 122 w 359"/>
              <a:gd name="T33" fmla="*/ 22 h 394"/>
              <a:gd name="T34" fmla="*/ 128 w 359"/>
              <a:gd name="T35" fmla="*/ 14 h 394"/>
              <a:gd name="T36" fmla="*/ 140 w 359"/>
              <a:gd name="T37" fmla="*/ 0 h 394"/>
              <a:gd name="T38" fmla="*/ 142 w 359"/>
              <a:gd name="T39" fmla="*/ 18 h 394"/>
              <a:gd name="T40" fmla="*/ 142 w 359"/>
              <a:gd name="T41" fmla="*/ 26 h 394"/>
              <a:gd name="T42" fmla="*/ 140 w 359"/>
              <a:gd name="T43" fmla="*/ 31 h 394"/>
              <a:gd name="T44" fmla="*/ 168 w 359"/>
              <a:gd name="T45" fmla="*/ 31 h 394"/>
              <a:gd name="T46" fmla="*/ 186 w 359"/>
              <a:gd name="T47" fmla="*/ 31 h 394"/>
              <a:gd name="T48" fmla="*/ 214 w 359"/>
              <a:gd name="T49" fmla="*/ 38 h 394"/>
              <a:gd name="T50" fmla="*/ 233 w 359"/>
              <a:gd name="T51" fmla="*/ 49 h 394"/>
              <a:gd name="T52" fmla="*/ 246 w 359"/>
              <a:gd name="T53" fmla="*/ 58 h 394"/>
              <a:gd name="T54" fmla="*/ 259 w 359"/>
              <a:gd name="T55" fmla="*/ 61 h 394"/>
              <a:gd name="T56" fmla="*/ 268 w 359"/>
              <a:gd name="T57" fmla="*/ 59 h 394"/>
              <a:gd name="T58" fmla="*/ 275 w 359"/>
              <a:gd name="T59" fmla="*/ 54 h 394"/>
              <a:gd name="T60" fmla="*/ 286 w 359"/>
              <a:gd name="T61" fmla="*/ 37 h 394"/>
              <a:gd name="T62" fmla="*/ 312 w 359"/>
              <a:gd name="T63" fmla="*/ 52 h 394"/>
              <a:gd name="T64" fmla="*/ 325 w 359"/>
              <a:gd name="T65" fmla="*/ 59 h 394"/>
              <a:gd name="T66" fmla="*/ 338 w 359"/>
              <a:gd name="T67" fmla="*/ 61 h 394"/>
              <a:gd name="T68" fmla="*/ 353 w 359"/>
              <a:gd name="T69" fmla="*/ 161 h 394"/>
              <a:gd name="T70" fmla="*/ 338 w 359"/>
              <a:gd name="T71" fmla="*/ 185 h 394"/>
              <a:gd name="T72" fmla="*/ 323 w 359"/>
              <a:gd name="T73" fmla="*/ 206 h 394"/>
              <a:gd name="T74" fmla="*/ 315 w 359"/>
              <a:gd name="T75" fmla="*/ 224 h 394"/>
              <a:gd name="T76" fmla="*/ 313 w 359"/>
              <a:gd name="T77" fmla="*/ 239 h 394"/>
              <a:gd name="T78" fmla="*/ 313 w 359"/>
              <a:gd name="T79" fmla="*/ 255 h 394"/>
              <a:gd name="T80" fmla="*/ 321 w 359"/>
              <a:gd name="T81" fmla="*/ 273 h 394"/>
              <a:gd name="T82" fmla="*/ 331 w 359"/>
              <a:gd name="T83" fmla="*/ 293 h 394"/>
              <a:gd name="T84" fmla="*/ 337 w 359"/>
              <a:gd name="T85" fmla="*/ 309 h 394"/>
              <a:gd name="T86" fmla="*/ 337 w 359"/>
              <a:gd name="T87" fmla="*/ 321 h 394"/>
              <a:gd name="T88" fmla="*/ 330 w 359"/>
              <a:gd name="T89" fmla="*/ 337 h 394"/>
              <a:gd name="T90" fmla="*/ 326 w 359"/>
              <a:gd name="T91" fmla="*/ 351 h 394"/>
              <a:gd name="T92" fmla="*/ 319 w 359"/>
              <a:gd name="T93" fmla="*/ 358 h 394"/>
              <a:gd name="T94" fmla="*/ 308 w 359"/>
              <a:gd name="T95" fmla="*/ 356 h 394"/>
              <a:gd name="T96" fmla="*/ 298 w 359"/>
              <a:gd name="T97" fmla="*/ 350 h 394"/>
              <a:gd name="T98" fmla="*/ 287 w 359"/>
              <a:gd name="T99" fmla="*/ 340 h 394"/>
              <a:gd name="T100" fmla="*/ 277 w 359"/>
              <a:gd name="T101" fmla="*/ 335 h 394"/>
              <a:gd name="T102" fmla="*/ 266 w 359"/>
              <a:gd name="T103" fmla="*/ 333 h 394"/>
              <a:gd name="T104" fmla="*/ 246 w 359"/>
              <a:gd name="T105" fmla="*/ 333 h 394"/>
              <a:gd name="T106" fmla="*/ 221 w 359"/>
              <a:gd name="T107" fmla="*/ 336 h 394"/>
              <a:gd name="T108" fmla="*/ 181 w 359"/>
              <a:gd name="T109" fmla="*/ 343 h 394"/>
              <a:gd name="T110" fmla="*/ 131 w 359"/>
              <a:gd name="T111" fmla="*/ 359 h 394"/>
              <a:gd name="T112" fmla="*/ 86 w 359"/>
              <a:gd name="T113" fmla="*/ 375 h 394"/>
              <a:gd name="T114" fmla="*/ 53 w 359"/>
              <a:gd name="T115" fmla="*/ 394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14" name="Freeform 466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>
              <a:gd name="T0" fmla="*/ 410 w 449"/>
              <a:gd name="T1" fmla="*/ 105 h 523"/>
              <a:gd name="T2" fmla="*/ 405 w 449"/>
              <a:gd name="T3" fmla="*/ 98 h 523"/>
              <a:gd name="T4" fmla="*/ 408 w 449"/>
              <a:gd name="T5" fmla="*/ 92 h 523"/>
              <a:gd name="T6" fmla="*/ 422 w 449"/>
              <a:gd name="T7" fmla="*/ 77 h 523"/>
              <a:gd name="T8" fmla="*/ 441 w 449"/>
              <a:gd name="T9" fmla="*/ 60 h 523"/>
              <a:gd name="T10" fmla="*/ 447 w 449"/>
              <a:gd name="T11" fmla="*/ 50 h 523"/>
              <a:gd name="T12" fmla="*/ 449 w 449"/>
              <a:gd name="T13" fmla="*/ 37 h 523"/>
              <a:gd name="T14" fmla="*/ 432 w 449"/>
              <a:gd name="T15" fmla="*/ 34 h 523"/>
              <a:gd name="T16" fmla="*/ 422 w 449"/>
              <a:gd name="T17" fmla="*/ 27 h 523"/>
              <a:gd name="T18" fmla="*/ 411 w 449"/>
              <a:gd name="T19" fmla="*/ 21 h 523"/>
              <a:gd name="T20" fmla="*/ 390 w 449"/>
              <a:gd name="T21" fmla="*/ 18 h 523"/>
              <a:gd name="T22" fmla="*/ 377 w 449"/>
              <a:gd name="T23" fmla="*/ 20 h 523"/>
              <a:gd name="T24" fmla="*/ 368 w 449"/>
              <a:gd name="T25" fmla="*/ 24 h 523"/>
              <a:gd name="T26" fmla="*/ 355 w 449"/>
              <a:gd name="T27" fmla="*/ 37 h 523"/>
              <a:gd name="T28" fmla="*/ 340 w 449"/>
              <a:gd name="T29" fmla="*/ 50 h 523"/>
              <a:gd name="T30" fmla="*/ 326 w 449"/>
              <a:gd name="T31" fmla="*/ 54 h 523"/>
              <a:gd name="T32" fmla="*/ 310 w 449"/>
              <a:gd name="T33" fmla="*/ 55 h 523"/>
              <a:gd name="T34" fmla="*/ 287 w 449"/>
              <a:gd name="T35" fmla="*/ 54 h 523"/>
              <a:gd name="T36" fmla="*/ 267 w 449"/>
              <a:gd name="T37" fmla="*/ 50 h 523"/>
              <a:gd name="T38" fmla="*/ 235 w 449"/>
              <a:gd name="T39" fmla="*/ 36 h 523"/>
              <a:gd name="T40" fmla="*/ 206 w 449"/>
              <a:gd name="T41" fmla="*/ 19 h 523"/>
              <a:gd name="T42" fmla="*/ 189 w 449"/>
              <a:gd name="T43" fmla="*/ 12 h 523"/>
              <a:gd name="T44" fmla="*/ 170 w 449"/>
              <a:gd name="T45" fmla="*/ 6 h 523"/>
              <a:gd name="T46" fmla="*/ 134 w 449"/>
              <a:gd name="T47" fmla="*/ 8 h 523"/>
              <a:gd name="T48" fmla="*/ 119 w 449"/>
              <a:gd name="T49" fmla="*/ 6 h 523"/>
              <a:gd name="T50" fmla="*/ 103 w 449"/>
              <a:gd name="T51" fmla="*/ 0 h 523"/>
              <a:gd name="T52" fmla="*/ 52 w 449"/>
              <a:gd name="T53" fmla="*/ 0 h 523"/>
              <a:gd name="T54" fmla="*/ 5 w 449"/>
              <a:gd name="T55" fmla="*/ 0 h 523"/>
              <a:gd name="T56" fmla="*/ 5 w 449"/>
              <a:gd name="T57" fmla="*/ 18 h 523"/>
              <a:gd name="T58" fmla="*/ 5 w 449"/>
              <a:gd name="T59" fmla="*/ 37 h 523"/>
              <a:gd name="T60" fmla="*/ 15 w 449"/>
              <a:gd name="T61" fmla="*/ 60 h 523"/>
              <a:gd name="T62" fmla="*/ 23 w 449"/>
              <a:gd name="T63" fmla="*/ 91 h 523"/>
              <a:gd name="T64" fmla="*/ 31 w 449"/>
              <a:gd name="T65" fmla="*/ 128 h 523"/>
              <a:gd name="T66" fmla="*/ 38 w 449"/>
              <a:gd name="T67" fmla="*/ 172 h 523"/>
              <a:gd name="T68" fmla="*/ 37 w 449"/>
              <a:gd name="T69" fmla="*/ 206 h 523"/>
              <a:gd name="T70" fmla="*/ 29 w 449"/>
              <a:gd name="T71" fmla="*/ 230 h 523"/>
              <a:gd name="T72" fmla="*/ 7 w 449"/>
              <a:gd name="T73" fmla="*/ 269 h 523"/>
              <a:gd name="T74" fmla="*/ 10 w 449"/>
              <a:gd name="T75" fmla="*/ 321 h 523"/>
              <a:gd name="T76" fmla="*/ 28 w 449"/>
              <a:gd name="T77" fmla="*/ 339 h 523"/>
              <a:gd name="T78" fmla="*/ 84 w 449"/>
              <a:gd name="T79" fmla="*/ 367 h 523"/>
              <a:gd name="T80" fmla="*/ 136 w 449"/>
              <a:gd name="T81" fmla="*/ 396 h 523"/>
              <a:gd name="T82" fmla="*/ 170 w 449"/>
              <a:gd name="T83" fmla="*/ 420 h 523"/>
              <a:gd name="T84" fmla="*/ 189 w 449"/>
              <a:gd name="T85" fmla="*/ 436 h 523"/>
              <a:gd name="T86" fmla="*/ 198 w 449"/>
              <a:gd name="T87" fmla="*/ 451 h 523"/>
              <a:gd name="T88" fmla="*/ 201 w 449"/>
              <a:gd name="T89" fmla="*/ 464 h 523"/>
              <a:gd name="T90" fmla="*/ 209 w 449"/>
              <a:gd name="T91" fmla="*/ 479 h 523"/>
              <a:gd name="T92" fmla="*/ 220 w 449"/>
              <a:gd name="T93" fmla="*/ 492 h 523"/>
              <a:gd name="T94" fmla="*/ 233 w 449"/>
              <a:gd name="T95" fmla="*/ 503 h 523"/>
              <a:gd name="T96" fmla="*/ 247 w 449"/>
              <a:gd name="T97" fmla="*/ 512 h 523"/>
              <a:gd name="T98" fmla="*/ 264 w 449"/>
              <a:gd name="T99" fmla="*/ 519 h 523"/>
              <a:gd name="T100" fmla="*/ 281 w 449"/>
              <a:gd name="T101" fmla="*/ 523 h 523"/>
              <a:gd name="T102" fmla="*/ 304 w 449"/>
              <a:gd name="T103" fmla="*/ 502 h 523"/>
              <a:gd name="T104" fmla="*/ 335 w 449"/>
              <a:gd name="T105" fmla="*/ 462 h 523"/>
              <a:gd name="T106" fmla="*/ 365 w 449"/>
              <a:gd name="T107" fmla="*/ 427 h 523"/>
              <a:gd name="T108" fmla="*/ 394 w 449"/>
              <a:gd name="T109" fmla="*/ 39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15" name="Freeform 467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>
              <a:gd name="T0" fmla="*/ 12 w 226"/>
              <a:gd name="T1" fmla="*/ 228 h 246"/>
              <a:gd name="T2" fmla="*/ 36 w 226"/>
              <a:gd name="T3" fmla="*/ 240 h 246"/>
              <a:gd name="T4" fmla="*/ 53 w 226"/>
              <a:gd name="T5" fmla="*/ 245 h 246"/>
              <a:gd name="T6" fmla="*/ 68 w 226"/>
              <a:gd name="T7" fmla="*/ 245 h 246"/>
              <a:gd name="T8" fmla="*/ 85 w 226"/>
              <a:gd name="T9" fmla="*/ 241 h 246"/>
              <a:gd name="T10" fmla="*/ 110 w 226"/>
              <a:gd name="T11" fmla="*/ 228 h 246"/>
              <a:gd name="T12" fmla="*/ 141 w 226"/>
              <a:gd name="T13" fmla="*/ 205 h 246"/>
              <a:gd name="T14" fmla="*/ 161 w 226"/>
              <a:gd name="T15" fmla="*/ 184 h 246"/>
              <a:gd name="T16" fmla="*/ 159 w 226"/>
              <a:gd name="T17" fmla="*/ 173 h 246"/>
              <a:gd name="T18" fmla="*/ 149 w 226"/>
              <a:gd name="T19" fmla="*/ 160 h 246"/>
              <a:gd name="T20" fmla="*/ 143 w 226"/>
              <a:gd name="T21" fmla="*/ 145 h 246"/>
              <a:gd name="T22" fmla="*/ 141 w 226"/>
              <a:gd name="T23" fmla="*/ 130 h 246"/>
              <a:gd name="T24" fmla="*/ 141 w 226"/>
              <a:gd name="T25" fmla="*/ 116 h 246"/>
              <a:gd name="T26" fmla="*/ 146 w 226"/>
              <a:gd name="T27" fmla="*/ 105 h 246"/>
              <a:gd name="T28" fmla="*/ 156 w 226"/>
              <a:gd name="T29" fmla="*/ 94 h 246"/>
              <a:gd name="T30" fmla="*/ 168 w 226"/>
              <a:gd name="T31" fmla="*/ 86 h 246"/>
              <a:gd name="T32" fmla="*/ 204 w 226"/>
              <a:gd name="T33" fmla="*/ 71 h 246"/>
              <a:gd name="T34" fmla="*/ 225 w 226"/>
              <a:gd name="T35" fmla="*/ 49 h 246"/>
              <a:gd name="T36" fmla="*/ 221 w 226"/>
              <a:gd name="T37" fmla="*/ 30 h 246"/>
              <a:gd name="T38" fmla="*/ 214 w 226"/>
              <a:gd name="T39" fmla="*/ 17 h 246"/>
              <a:gd name="T40" fmla="*/ 212 w 226"/>
              <a:gd name="T41" fmla="*/ 6 h 246"/>
              <a:gd name="T42" fmla="*/ 202 w 226"/>
              <a:gd name="T43" fmla="*/ 1 h 246"/>
              <a:gd name="T44" fmla="*/ 181 w 226"/>
              <a:gd name="T45" fmla="*/ 7 h 246"/>
              <a:gd name="T46" fmla="*/ 154 w 226"/>
              <a:gd name="T47" fmla="*/ 20 h 246"/>
              <a:gd name="T48" fmla="*/ 121 w 226"/>
              <a:gd name="T49" fmla="*/ 38 h 246"/>
              <a:gd name="T50" fmla="*/ 100 w 226"/>
              <a:gd name="T51" fmla="*/ 51 h 246"/>
              <a:gd name="T52" fmla="*/ 87 w 226"/>
              <a:gd name="T53" fmla="*/ 55 h 246"/>
              <a:gd name="T54" fmla="*/ 75 w 226"/>
              <a:gd name="T55" fmla="*/ 54 h 246"/>
              <a:gd name="T56" fmla="*/ 59 w 226"/>
              <a:gd name="T57" fmla="*/ 47 h 246"/>
              <a:gd name="T58" fmla="*/ 36 w 226"/>
              <a:gd name="T59" fmla="*/ 31 h 246"/>
              <a:gd name="T60" fmla="*/ 24 w 226"/>
              <a:gd name="T61" fmla="*/ 39 h 246"/>
              <a:gd name="T62" fmla="*/ 18 w 226"/>
              <a:gd name="T63" fmla="*/ 95 h 246"/>
              <a:gd name="T64" fmla="*/ 10 w 226"/>
              <a:gd name="T65" fmla="*/ 163 h 246"/>
              <a:gd name="T66" fmla="*/ 3 w 226"/>
              <a:gd name="T67" fmla="*/ 2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16" name="Freeform 468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>
              <a:gd name="T0" fmla="*/ 27 w 60"/>
              <a:gd name="T1" fmla="*/ 0 h 81"/>
              <a:gd name="T2" fmla="*/ 29 w 60"/>
              <a:gd name="T3" fmla="*/ 2 h 81"/>
              <a:gd name="T4" fmla="*/ 32 w 60"/>
              <a:gd name="T5" fmla="*/ 3 h 81"/>
              <a:gd name="T6" fmla="*/ 36 w 60"/>
              <a:gd name="T7" fmla="*/ 3 h 81"/>
              <a:gd name="T8" fmla="*/ 40 w 60"/>
              <a:gd name="T9" fmla="*/ 2 h 81"/>
              <a:gd name="T10" fmla="*/ 47 w 60"/>
              <a:gd name="T11" fmla="*/ 1 h 81"/>
              <a:gd name="T12" fmla="*/ 53 w 60"/>
              <a:gd name="T13" fmla="*/ 0 h 81"/>
              <a:gd name="T14" fmla="*/ 53 w 60"/>
              <a:gd name="T15" fmla="*/ 26 h 81"/>
              <a:gd name="T16" fmla="*/ 54 w 60"/>
              <a:gd name="T17" fmla="*/ 47 h 81"/>
              <a:gd name="T18" fmla="*/ 54 w 60"/>
              <a:gd name="T19" fmla="*/ 57 h 81"/>
              <a:gd name="T20" fmla="*/ 56 w 60"/>
              <a:gd name="T21" fmla="*/ 65 h 81"/>
              <a:gd name="T22" fmla="*/ 58 w 60"/>
              <a:gd name="T23" fmla="*/ 73 h 81"/>
              <a:gd name="T24" fmla="*/ 60 w 60"/>
              <a:gd name="T25" fmla="*/ 81 h 81"/>
              <a:gd name="T26" fmla="*/ 20 w 60"/>
              <a:gd name="T27" fmla="*/ 81 h 81"/>
              <a:gd name="T28" fmla="*/ 14 w 60"/>
              <a:gd name="T29" fmla="*/ 80 h 81"/>
              <a:gd name="T30" fmla="*/ 7 w 60"/>
              <a:gd name="T31" fmla="*/ 77 h 81"/>
              <a:gd name="T32" fmla="*/ 5 w 60"/>
              <a:gd name="T33" fmla="*/ 74 h 81"/>
              <a:gd name="T34" fmla="*/ 2 w 60"/>
              <a:gd name="T35" fmla="*/ 72 h 81"/>
              <a:gd name="T36" fmla="*/ 1 w 60"/>
              <a:gd name="T37" fmla="*/ 70 h 81"/>
              <a:gd name="T38" fmla="*/ 0 w 60"/>
              <a:gd name="T39" fmla="*/ 68 h 81"/>
              <a:gd name="T40" fmla="*/ 7 w 60"/>
              <a:gd name="T41" fmla="*/ 12 h 81"/>
              <a:gd name="T42" fmla="*/ 20 w 60"/>
              <a:gd name="T43" fmla="*/ 6 h 81"/>
              <a:gd name="T44" fmla="*/ 34 w 60"/>
              <a:gd name="T45" fmla="*/ 0 h 81"/>
              <a:gd name="T46" fmla="*/ 27 w 60"/>
              <a:gd name="T47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17" name="Freeform 469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>
              <a:gd name="T0" fmla="*/ 250 w 370"/>
              <a:gd name="T1" fmla="*/ 117 h 129"/>
              <a:gd name="T2" fmla="*/ 258 w 370"/>
              <a:gd name="T3" fmla="*/ 119 h 129"/>
              <a:gd name="T4" fmla="*/ 277 w 370"/>
              <a:gd name="T5" fmla="*/ 123 h 129"/>
              <a:gd name="T6" fmla="*/ 295 w 370"/>
              <a:gd name="T7" fmla="*/ 127 h 129"/>
              <a:gd name="T8" fmla="*/ 303 w 370"/>
              <a:gd name="T9" fmla="*/ 129 h 129"/>
              <a:gd name="T10" fmla="*/ 370 w 370"/>
              <a:gd name="T11" fmla="*/ 97 h 129"/>
              <a:gd name="T12" fmla="*/ 358 w 370"/>
              <a:gd name="T13" fmla="*/ 75 h 129"/>
              <a:gd name="T14" fmla="*/ 345 w 370"/>
              <a:gd name="T15" fmla="*/ 48 h 129"/>
              <a:gd name="T16" fmla="*/ 335 w 370"/>
              <a:gd name="T17" fmla="*/ 27 h 129"/>
              <a:gd name="T18" fmla="*/ 330 w 370"/>
              <a:gd name="T19" fmla="*/ 18 h 129"/>
              <a:gd name="T20" fmla="*/ 300 w 370"/>
              <a:gd name="T21" fmla="*/ 15 h 129"/>
              <a:gd name="T22" fmla="*/ 257 w 370"/>
              <a:gd name="T23" fmla="*/ 9 h 129"/>
              <a:gd name="T24" fmla="*/ 214 w 370"/>
              <a:gd name="T25" fmla="*/ 2 h 129"/>
              <a:gd name="T26" fmla="*/ 183 w 370"/>
              <a:gd name="T27" fmla="*/ 0 h 129"/>
              <a:gd name="T28" fmla="*/ 179 w 370"/>
              <a:gd name="T29" fmla="*/ 0 h 129"/>
              <a:gd name="T30" fmla="*/ 176 w 370"/>
              <a:gd name="T31" fmla="*/ 1 h 129"/>
              <a:gd name="T32" fmla="*/ 172 w 370"/>
              <a:gd name="T33" fmla="*/ 2 h 129"/>
              <a:gd name="T34" fmla="*/ 170 w 370"/>
              <a:gd name="T35" fmla="*/ 3 h 129"/>
              <a:gd name="T36" fmla="*/ 162 w 370"/>
              <a:gd name="T37" fmla="*/ 7 h 129"/>
              <a:gd name="T38" fmla="*/ 150 w 370"/>
              <a:gd name="T39" fmla="*/ 12 h 129"/>
              <a:gd name="T40" fmla="*/ 147 w 370"/>
              <a:gd name="T41" fmla="*/ 21 h 129"/>
              <a:gd name="T42" fmla="*/ 140 w 370"/>
              <a:gd name="T43" fmla="*/ 35 h 129"/>
              <a:gd name="T44" fmla="*/ 134 w 370"/>
              <a:gd name="T45" fmla="*/ 48 h 129"/>
              <a:gd name="T46" fmla="*/ 131 w 370"/>
              <a:gd name="T47" fmla="*/ 55 h 129"/>
              <a:gd name="T48" fmla="*/ 122 w 370"/>
              <a:gd name="T49" fmla="*/ 54 h 129"/>
              <a:gd name="T50" fmla="*/ 111 w 370"/>
              <a:gd name="T51" fmla="*/ 49 h 129"/>
              <a:gd name="T52" fmla="*/ 98 w 370"/>
              <a:gd name="T53" fmla="*/ 44 h 129"/>
              <a:gd name="T54" fmla="*/ 84 w 370"/>
              <a:gd name="T55" fmla="*/ 38 h 129"/>
              <a:gd name="T56" fmla="*/ 60 w 370"/>
              <a:gd name="T57" fmla="*/ 26 h 129"/>
              <a:gd name="T58" fmla="*/ 44 w 370"/>
              <a:gd name="T59" fmla="*/ 18 h 129"/>
              <a:gd name="T60" fmla="*/ 32 w 370"/>
              <a:gd name="T61" fmla="*/ 25 h 129"/>
              <a:gd name="T62" fmla="*/ 21 w 370"/>
              <a:gd name="T63" fmla="*/ 33 h 129"/>
              <a:gd name="T64" fmla="*/ 16 w 370"/>
              <a:gd name="T65" fmla="*/ 37 h 129"/>
              <a:gd name="T66" fmla="*/ 12 w 370"/>
              <a:gd name="T67" fmla="*/ 41 h 129"/>
              <a:gd name="T68" fmla="*/ 9 w 370"/>
              <a:gd name="T69" fmla="*/ 46 h 129"/>
              <a:gd name="T70" fmla="*/ 5 w 370"/>
              <a:gd name="T71" fmla="*/ 52 h 129"/>
              <a:gd name="T72" fmla="*/ 3 w 370"/>
              <a:gd name="T73" fmla="*/ 57 h 129"/>
              <a:gd name="T74" fmla="*/ 1 w 370"/>
              <a:gd name="T75" fmla="*/ 63 h 129"/>
              <a:gd name="T76" fmla="*/ 0 w 370"/>
              <a:gd name="T77" fmla="*/ 69 h 129"/>
              <a:gd name="T78" fmla="*/ 0 w 370"/>
              <a:gd name="T79" fmla="*/ 75 h 129"/>
              <a:gd name="T80" fmla="*/ 1 w 370"/>
              <a:gd name="T81" fmla="*/ 82 h 129"/>
              <a:gd name="T82" fmla="*/ 3 w 370"/>
              <a:gd name="T83" fmla="*/ 88 h 129"/>
              <a:gd name="T84" fmla="*/ 6 w 370"/>
              <a:gd name="T85" fmla="*/ 96 h 129"/>
              <a:gd name="T86" fmla="*/ 11 w 370"/>
              <a:gd name="T87" fmla="*/ 103 h 129"/>
              <a:gd name="T88" fmla="*/ 20 w 370"/>
              <a:gd name="T89" fmla="*/ 101 h 129"/>
              <a:gd name="T90" fmla="*/ 33 w 370"/>
              <a:gd name="T91" fmla="*/ 99 h 129"/>
              <a:gd name="T92" fmla="*/ 50 w 370"/>
              <a:gd name="T93" fmla="*/ 97 h 129"/>
              <a:gd name="T94" fmla="*/ 69 w 370"/>
              <a:gd name="T95" fmla="*/ 95 h 129"/>
              <a:gd name="T96" fmla="*/ 102 w 370"/>
              <a:gd name="T97" fmla="*/ 92 h 129"/>
              <a:gd name="T98" fmla="*/ 117 w 370"/>
              <a:gd name="T99" fmla="*/ 91 h 129"/>
              <a:gd name="T100" fmla="*/ 137 w 370"/>
              <a:gd name="T101" fmla="*/ 92 h 129"/>
              <a:gd name="T102" fmla="*/ 152 w 370"/>
              <a:gd name="T103" fmla="*/ 94 h 129"/>
              <a:gd name="T104" fmla="*/ 166 w 370"/>
              <a:gd name="T105" fmla="*/ 97 h 129"/>
              <a:gd name="T106" fmla="*/ 177 w 370"/>
              <a:gd name="T107" fmla="*/ 100 h 129"/>
              <a:gd name="T108" fmla="*/ 189 w 370"/>
              <a:gd name="T109" fmla="*/ 104 h 129"/>
              <a:gd name="T110" fmla="*/ 201 w 370"/>
              <a:gd name="T111" fmla="*/ 108 h 129"/>
              <a:gd name="T112" fmla="*/ 217 w 370"/>
              <a:gd name="T113" fmla="*/ 110 h 129"/>
              <a:gd name="T114" fmla="*/ 237 w 370"/>
              <a:gd name="T115" fmla="*/ 111 h 129"/>
              <a:gd name="T116" fmla="*/ 237 w 370"/>
              <a:gd name="T117" fmla="*/ 117 h 129"/>
              <a:gd name="T118" fmla="*/ 250 w 370"/>
              <a:gd name="T119" fmla="*/ 117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18" name="Freeform 470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>
              <a:gd name="T0" fmla="*/ 27 w 80"/>
              <a:gd name="T1" fmla="*/ 1 h 94"/>
              <a:gd name="T2" fmla="*/ 34 w 80"/>
              <a:gd name="T3" fmla="*/ 0 h 94"/>
              <a:gd name="T4" fmla="*/ 41 w 80"/>
              <a:gd name="T5" fmla="*/ 0 h 94"/>
              <a:gd name="T6" fmla="*/ 47 w 80"/>
              <a:gd name="T7" fmla="*/ 2 h 94"/>
              <a:gd name="T8" fmla="*/ 54 w 80"/>
              <a:gd name="T9" fmla="*/ 4 h 94"/>
              <a:gd name="T10" fmla="*/ 60 w 80"/>
              <a:gd name="T11" fmla="*/ 6 h 94"/>
              <a:gd name="T12" fmla="*/ 66 w 80"/>
              <a:gd name="T13" fmla="*/ 8 h 94"/>
              <a:gd name="T14" fmla="*/ 73 w 80"/>
              <a:gd name="T15" fmla="*/ 8 h 94"/>
              <a:gd name="T16" fmla="*/ 80 w 80"/>
              <a:gd name="T17" fmla="*/ 7 h 94"/>
              <a:gd name="T18" fmla="*/ 80 w 80"/>
              <a:gd name="T19" fmla="*/ 38 h 94"/>
              <a:gd name="T20" fmla="*/ 75 w 80"/>
              <a:gd name="T21" fmla="*/ 44 h 94"/>
              <a:gd name="T22" fmla="*/ 69 w 80"/>
              <a:gd name="T23" fmla="*/ 51 h 94"/>
              <a:gd name="T24" fmla="*/ 64 w 80"/>
              <a:gd name="T25" fmla="*/ 59 h 94"/>
              <a:gd name="T26" fmla="*/ 58 w 80"/>
              <a:gd name="T27" fmla="*/ 68 h 94"/>
              <a:gd name="T28" fmla="*/ 51 w 80"/>
              <a:gd name="T29" fmla="*/ 84 h 94"/>
              <a:gd name="T30" fmla="*/ 47 w 80"/>
              <a:gd name="T31" fmla="*/ 94 h 94"/>
              <a:gd name="T32" fmla="*/ 43 w 80"/>
              <a:gd name="T33" fmla="*/ 93 h 94"/>
              <a:gd name="T34" fmla="*/ 40 w 80"/>
              <a:gd name="T35" fmla="*/ 92 h 94"/>
              <a:gd name="T36" fmla="*/ 37 w 80"/>
              <a:gd name="T37" fmla="*/ 91 h 94"/>
              <a:gd name="T38" fmla="*/ 34 w 80"/>
              <a:gd name="T39" fmla="*/ 89 h 94"/>
              <a:gd name="T40" fmla="*/ 29 w 80"/>
              <a:gd name="T41" fmla="*/ 84 h 94"/>
              <a:gd name="T42" fmla="*/ 23 w 80"/>
              <a:gd name="T43" fmla="*/ 78 h 94"/>
              <a:gd name="T44" fmla="*/ 19 w 80"/>
              <a:gd name="T45" fmla="*/ 72 h 94"/>
              <a:gd name="T46" fmla="*/ 13 w 80"/>
              <a:gd name="T47" fmla="*/ 65 h 94"/>
              <a:gd name="T48" fmla="*/ 7 w 80"/>
              <a:gd name="T49" fmla="*/ 60 h 94"/>
              <a:gd name="T50" fmla="*/ 0 w 80"/>
              <a:gd name="T51" fmla="*/ 56 h 94"/>
              <a:gd name="T52" fmla="*/ 8 w 80"/>
              <a:gd name="T53" fmla="*/ 41 h 94"/>
              <a:gd name="T54" fmla="*/ 13 w 80"/>
              <a:gd name="T55" fmla="*/ 29 h 94"/>
              <a:gd name="T56" fmla="*/ 19 w 80"/>
              <a:gd name="T57" fmla="*/ 17 h 94"/>
              <a:gd name="T58" fmla="*/ 27 w 80"/>
              <a:gd name="T59" fmla="*/ 1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20" name="Freeform 472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>
              <a:gd name="T0" fmla="*/ 192 w 312"/>
              <a:gd name="T1" fmla="*/ 155 h 155"/>
              <a:gd name="T2" fmla="*/ 194 w 312"/>
              <a:gd name="T3" fmla="*/ 151 h 155"/>
              <a:gd name="T4" fmla="*/ 197 w 312"/>
              <a:gd name="T5" fmla="*/ 148 h 155"/>
              <a:gd name="T6" fmla="*/ 200 w 312"/>
              <a:gd name="T7" fmla="*/ 145 h 155"/>
              <a:gd name="T8" fmla="*/ 203 w 312"/>
              <a:gd name="T9" fmla="*/ 142 h 155"/>
              <a:gd name="T10" fmla="*/ 211 w 312"/>
              <a:gd name="T11" fmla="*/ 137 h 155"/>
              <a:gd name="T12" fmla="*/ 220 w 312"/>
              <a:gd name="T13" fmla="*/ 132 h 155"/>
              <a:gd name="T14" fmla="*/ 238 w 312"/>
              <a:gd name="T15" fmla="*/ 123 h 155"/>
              <a:gd name="T16" fmla="*/ 253 w 312"/>
              <a:gd name="T17" fmla="*/ 117 h 155"/>
              <a:gd name="T18" fmla="*/ 255 w 312"/>
              <a:gd name="T19" fmla="*/ 109 h 155"/>
              <a:gd name="T20" fmla="*/ 260 w 312"/>
              <a:gd name="T21" fmla="*/ 97 h 155"/>
              <a:gd name="T22" fmla="*/ 264 w 312"/>
              <a:gd name="T23" fmla="*/ 91 h 155"/>
              <a:gd name="T24" fmla="*/ 267 w 312"/>
              <a:gd name="T25" fmla="*/ 86 h 155"/>
              <a:gd name="T26" fmla="*/ 269 w 312"/>
              <a:gd name="T27" fmla="*/ 82 h 155"/>
              <a:gd name="T28" fmla="*/ 272 w 312"/>
              <a:gd name="T29" fmla="*/ 81 h 155"/>
              <a:gd name="T30" fmla="*/ 312 w 312"/>
              <a:gd name="T31" fmla="*/ 44 h 155"/>
              <a:gd name="T32" fmla="*/ 312 w 312"/>
              <a:gd name="T33" fmla="*/ 39 h 155"/>
              <a:gd name="T34" fmla="*/ 310 w 312"/>
              <a:gd name="T35" fmla="*/ 35 h 155"/>
              <a:gd name="T36" fmla="*/ 306 w 312"/>
              <a:gd name="T37" fmla="*/ 32 h 155"/>
              <a:gd name="T38" fmla="*/ 302 w 312"/>
              <a:gd name="T39" fmla="*/ 30 h 155"/>
              <a:gd name="T40" fmla="*/ 291 w 312"/>
              <a:gd name="T41" fmla="*/ 28 h 155"/>
              <a:gd name="T42" fmla="*/ 280 w 312"/>
              <a:gd name="T43" fmla="*/ 27 h 155"/>
              <a:gd name="T44" fmla="*/ 268 w 312"/>
              <a:gd name="T45" fmla="*/ 27 h 155"/>
              <a:gd name="T46" fmla="*/ 259 w 312"/>
              <a:gd name="T47" fmla="*/ 27 h 155"/>
              <a:gd name="T48" fmla="*/ 256 w 312"/>
              <a:gd name="T49" fmla="*/ 26 h 155"/>
              <a:gd name="T50" fmla="*/ 253 w 312"/>
              <a:gd name="T51" fmla="*/ 25 h 155"/>
              <a:gd name="T52" fmla="*/ 252 w 312"/>
              <a:gd name="T53" fmla="*/ 23 h 155"/>
              <a:gd name="T54" fmla="*/ 253 w 312"/>
              <a:gd name="T55" fmla="*/ 20 h 155"/>
              <a:gd name="T56" fmla="*/ 232 w 312"/>
              <a:gd name="T57" fmla="*/ 19 h 155"/>
              <a:gd name="T58" fmla="*/ 216 w 312"/>
              <a:gd name="T59" fmla="*/ 17 h 155"/>
              <a:gd name="T60" fmla="*/ 202 w 312"/>
              <a:gd name="T61" fmla="*/ 13 h 155"/>
              <a:gd name="T62" fmla="*/ 189 w 312"/>
              <a:gd name="T63" fmla="*/ 9 h 155"/>
              <a:gd name="T64" fmla="*/ 177 w 312"/>
              <a:gd name="T65" fmla="*/ 6 h 155"/>
              <a:gd name="T66" fmla="*/ 163 w 312"/>
              <a:gd name="T67" fmla="*/ 3 h 155"/>
              <a:gd name="T68" fmla="*/ 146 w 312"/>
              <a:gd name="T69" fmla="*/ 1 h 155"/>
              <a:gd name="T70" fmla="*/ 126 w 312"/>
              <a:gd name="T71" fmla="*/ 0 h 155"/>
              <a:gd name="T72" fmla="*/ 110 w 312"/>
              <a:gd name="T73" fmla="*/ 1 h 155"/>
              <a:gd name="T74" fmla="*/ 74 w 312"/>
              <a:gd name="T75" fmla="*/ 4 h 155"/>
              <a:gd name="T76" fmla="*/ 53 w 312"/>
              <a:gd name="T77" fmla="*/ 6 h 155"/>
              <a:gd name="T78" fmla="*/ 34 w 312"/>
              <a:gd name="T79" fmla="*/ 8 h 155"/>
              <a:gd name="T80" fmla="*/ 18 w 312"/>
              <a:gd name="T81" fmla="*/ 10 h 155"/>
              <a:gd name="T82" fmla="*/ 7 w 312"/>
              <a:gd name="T83" fmla="*/ 12 h 155"/>
              <a:gd name="T84" fmla="*/ 9 w 312"/>
              <a:gd name="T85" fmla="*/ 17 h 155"/>
              <a:gd name="T86" fmla="*/ 11 w 312"/>
              <a:gd name="T87" fmla="*/ 19 h 155"/>
              <a:gd name="T88" fmla="*/ 13 w 312"/>
              <a:gd name="T89" fmla="*/ 19 h 155"/>
              <a:gd name="T90" fmla="*/ 15 w 312"/>
              <a:gd name="T91" fmla="*/ 20 h 155"/>
              <a:gd name="T92" fmla="*/ 18 w 312"/>
              <a:gd name="T93" fmla="*/ 20 h 155"/>
              <a:gd name="T94" fmla="*/ 19 w 312"/>
              <a:gd name="T95" fmla="*/ 20 h 155"/>
              <a:gd name="T96" fmla="*/ 20 w 312"/>
              <a:gd name="T97" fmla="*/ 22 h 155"/>
              <a:gd name="T98" fmla="*/ 20 w 312"/>
              <a:gd name="T99" fmla="*/ 26 h 155"/>
              <a:gd name="T100" fmla="*/ 20 w 312"/>
              <a:gd name="T101" fmla="*/ 30 h 155"/>
              <a:gd name="T102" fmla="*/ 19 w 312"/>
              <a:gd name="T103" fmla="*/ 35 h 155"/>
              <a:gd name="T104" fmla="*/ 18 w 312"/>
              <a:gd name="T105" fmla="*/ 39 h 155"/>
              <a:gd name="T106" fmla="*/ 15 w 312"/>
              <a:gd name="T107" fmla="*/ 42 h 155"/>
              <a:gd name="T108" fmla="*/ 12 w 312"/>
              <a:gd name="T109" fmla="*/ 45 h 155"/>
              <a:gd name="T110" fmla="*/ 9 w 312"/>
              <a:gd name="T111" fmla="*/ 48 h 155"/>
              <a:gd name="T112" fmla="*/ 4 w 312"/>
              <a:gd name="T113" fmla="*/ 49 h 155"/>
              <a:gd name="T114" fmla="*/ 0 w 312"/>
              <a:gd name="T115" fmla="*/ 50 h 155"/>
              <a:gd name="T116" fmla="*/ 74 w 312"/>
              <a:gd name="T117" fmla="*/ 68 h 155"/>
              <a:gd name="T118" fmla="*/ 87 w 312"/>
              <a:gd name="T119" fmla="*/ 111 h 155"/>
              <a:gd name="T120" fmla="*/ 166 w 312"/>
              <a:gd name="T121" fmla="*/ 123 h 155"/>
              <a:gd name="T122" fmla="*/ 192 w 312"/>
              <a:gd name="T123" fmla="*/ 155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21" name="Freeform 473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>
              <a:gd name="T0" fmla="*/ 0 w 46"/>
              <a:gd name="T1" fmla="*/ 25 h 50"/>
              <a:gd name="T2" fmla="*/ 2 w 46"/>
              <a:gd name="T3" fmla="*/ 18 h 50"/>
              <a:gd name="T4" fmla="*/ 1 w 46"/>
              <a:gd name="T5" fmla="*/ 14 h 50"/>
              <a:gd name="T6" fmla="*/ 2 w 46"/>
              <a:gd name="T7" fmla="*/ 13 h 50"/>
              <a:gd name="T8" fmla="*/ 3 w 46"/>
              <a:gd name="T9" fmla="*/ 13 h 50"/>
              <a:gd name="T10" fmla="*/ 6 w 46"/>
              <a:gd name="T11" fmla="*/ 12 h 50"/>
              <a:gd name="T12" fmla="*/ 13 w 46"/>
              <a:gd name="T13" fmla="*/ 12 h 50"/>
              <a:gd name="T14" fmla="*/ 46 w 46"/>
              <a:gd name="T15" fmla="*/ 0 h 50"/>
              <a:gd name="T16" fmla="*/ 46 w 46"/>
              <a:gd name="T17" fmla="*/ 50 h 50"/>
              <a:gd name="T18" fmla="*/ 40 w 46"/>
              <a:gd name="T19" fmla="*/ 49 h 50"/>
              <a:gd name="T20" fmla="*/ 33 w 46"/>
              <a:gd name="T21" fmla="*/ 45 h 50"/>
              <a:gd name="T22" fmla="*/ 25 w 46"/>
              <a:gd name="T23" fmla="*/ 41 h 50"/>
              <a:gd name="T24" fmla="*/ 17 w 46"/>
              <a:gd name="T25" fmla="*/ 37 h 50"/>
              <a:gd name="T26" fmla="*/ 5 w 46"/>
              <a:gd name="T27" fmla="*/ 28 h 50"/>
              <a:gd name="T28" fmla="*/ 0 w 46"/>
              <a:gd name="T29" fmla="*/ 2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22" name="Freeform 474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>
              <a:gd name="T0" fmla="*/ 10 w 166"/>
              <a:gd name="T1" fmla="*/ 282 h 456"/>
              <a:gd name="T2" fmla="*/ 19 w 166"/>
              <a:gd name="T3" fmla="*/ 290 h 456"/>
              <a:gd name="T4" fmla="*/ 37 w 166"/>
              <a:gd name="T5" fmla="*/ 300 h 456"/>
              <a:gd name="T6" fmla="*/ 58 w 166"/>
              <a:gd name="T7" fmla="*/ 306 h 456"/>
              <a:gd name="T8" fmla="*/ 70 w 166"/>
              <a:gd name="T9" fmla="*/ 312 h 456"/>
              <a:gd name="T10" fmla="*/ 80 w 166"/>
              <a:gd name="T11" fmla="*/ 320 h 456"/>
              <a:gd name="T12" fmla="*/ 86 w 166"/>
              <a:gd name="T13" fmla="*/ 331 h 456"/>
              <a:gd name="T14" fmla="*/ 86 w 166"/>
              <a:gd name="T15" fmla="*/ 347 h 456"/>
              <a:gd name="T16" fmla="*/ 78 w 166"/>
              <a:gd name="T17" fmla="*/ 363 h 456"/>
              <a:gd name="T18" fmla="*/ 68 w 166"/>
              <a:gd name="T19" fmla="*/ 375 h 456"/>
              <a:gd name="T20" fmla="*/ 62 w 166"/>
              <a:gd name="T21" fmla="*/ 388 h 456"/>
              <a:gd name="T22" fmla="*/ 60 w 166"/>
              <a:gd name="T23" fmla="*/ 400 h 456"/>
              <a:gd name="T24" fmla="*/ 64 w 166"/>
              <a:gd name="T25" fmla="*/ 411 h 456"/>
              <a:gd name="T26" fmla="*/ 76 w 166"/>
              <a:gd name="T27" fmla="*/ 424 h 456"/>
              <a:gd name="T28" fmla="*/ 104 w 166"/>
              <a:gd name="T29" fmla="*/ 445 h 456"/>
              <a:gd name="T30" fmla="*/ 120 w 166"/>
              <a:gd name="T31" fmla="*/ 443 h 456"/>
              <a:gd name="T32" fmla="*/ 120 w 166"/>
              <a:gd name="T33" fmla="*/ 423 h 456"/>
              <a:gd name="T34" fmla="*/ 131 w 166"/>
              <a:gd name="T35" fmla="*/ 413 h 456"/>
              <a:gd name="T36" fmla="*/ 145 w 166"/>
              <a:gd name="T37" fmla="*/ 407 h 456"/>
              <a:gd name="T38" fmla="*/ 153 w 166"/>
              <a:gd name="T39" fmla="*/ 402 h 456"/>
              <a:gd name="T40" fmla="*/ 160 w 166"/>
              <a:gd name="T41" fmla="*/ 393 h 456"/>
              <a:gd name="T42" fmla="*/ 166 w 166"/>
              <a:gd name="T43" fmla="*/ 375 h 456"/>
              <a:gd name="T44" fmla="*/ 165 w 166"/>
              <a:gd name="T45" fmla="*/ 350 h 456"/>
              <a:gd name="T46" fmla="*/ 158 w 166"/>
              <a:gd name="T47" fmla="*/ 328 h 456"/>
              <a:gd name="T48" fmla="*/ 148 w 166"/>
              <a:gd name="T49" fmla="*/ 307 h 456"/>
              <a:gd name="T50" fmla="*/ 141 w 166"/>
              <a:gd name="T51" fmla="*/ 284 h 456"/>
              <a:gd name="T52" fmla="*/ 135 w 166"/>
              <a:gd name="T53" fmla="*/ 269 h 456"/>
              <a:gd name="T54" fmla="*/ 118 w 166"/>
              <a:gd name="T55" fmla="*/ 251 h 456"/>
              <a:gd name="T56" fmla="*/ 97 w 166"/>
              <a:gd name="T57" fmla="*/ 224 h 456"/>
              <a:gd name="T58" fmla="*/ 85 w 166"/>
              <a:gd name="T59" fmla="*/ 206 h 456"/>
              <a:gd name="T60" fmla="*/ 80 w 166"/>
              <a:gd name="T61" fmla="*/ 195 h 456"/>
              <a:gd name="T62" fmla="*/ 81 w 166"/>
              <a:gd name="T63" fmla="*/ 177 h 456"/>
              <a:gd name="T64" fmla="*/ 88 w 166"/>
              <a:gd name="T65" fmla="*/ 147 h 456"/>
              <a:gd name="T66" fmla="*/ 96 w 166"/>
              <a:gd name="T67" fmla="*/ 129 h 456"/>
              <a:gd name="T68" fmla="*/ 98 w 166"/>
              <a:gd name="T69" fmla="*/ 113 h 456"/>
              <a:gd name="T70" fmla="*/ 95 w 166"/>
              <a:gd name="T71" fmla="*/ 82 h 456"/>
              <a:gd name="T72" fmla="*/ 92 w 166"/>
              <a:gd name="T73" fmla="*/ 45 h 456"/>
              <a:gd name="T74" fmla="*/ 89 w 166"/>
              <a:gd name="T75" fmla="*/ 18 h 456"/>
              <a:gd name="T76" fmla="*/ 71 w 166"/>
              <a:gd name="T77" fmla="*/ 8 h 456"/>
              <a:gd name="T78" fmla="*/ 33 w 166"/>
              <a:gd name="T79" fmla="*/ 4 h 456"/>
              <a:gd name="T80" fmla="*/ 12 w 166"/>
              <a:gd name="T81" fmla="*/ 10 h 456"/>
              <a:gd name="T82" fmla="*/ 22 w 166"/>
              <a:gd name="T83" fmla="*/ 25 h 456"/>
              <a:gd name="T84" fmla="*/ 33 w 166"/>
              <a:gd name="T85" fmla="*/ 30 h 456"/>
              <a:gd name="T86" fmla="*/ 40 w 166"/>
              <a:gd name="T87" fmla="*/ 44 h 456"/>
              <a:gd name="T88" fmla="*/ 40 w 166"/>
              <a:gd name="T89" fmla="*/ 64 h 456"/>
              <a:gd name="T90" fmla="*/ 40 w 166"/>
              <a:gd name="T91" fmla="*/ 78 h 456"/>
              <a:gd name="T92" fmla="*/ 36 w 166"/>
              <a:gd name="T93" fmla="*/ 85 h 456"/>
              <a:gd name="T94" fmla="*/ 29 w 166"/>
              <a:gd name="T95" fmla="*/ 95 h 456"/>
              <a:gd name="T96" fmla="*/ 15 w 166"/>
              <a:gd name="T97" fmla="*/ 109 h 456"/>
              <a:gd name="T98" fmla="*/ 3 w 166"/>
              <a:gd name="T99" fmla="*/ 122 h 456"/>
              <a:gd name="T100" fmla="*/ 7 w 166"/>
              <a:gd name="T101" fmla="*/ 277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23" name="Freeform 475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24" name="Freeform 476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>
              <a:gd name="T0" fmla="*/ 284 w 438"/>
              <a:gd name="T1" fmla="*/ 8 h 406"/>
              <a:gd name="T2" fmla="*/ 320 w 438"/>
              <a:gd name="T3" fmla="*/ 27 h 406"/>
              <a:gd name="T4" fmla="*/ 363 w 438"/>
              <a:gd name="T5" fmla="*/ 47 h 406"/>
              <a:gd name="T6" fmla="*/ 395 w 438"/>
              <a:gd name="T7" fmla="*/ 58 h 406"/>
              <a:gd name="T8" fmla="*/ 416 w 438"/>
              <a:gd name="T9" fmla="*/ 61 h 406"/>
              <a:gd name="T10" fmla="*/ 425 w 438"/>
              <a:gd name="T11" fmla="*/ 81 h 406"/>
              <a:gd name="T12" fmla="*/ 429 w 438"/>
              <a:gd name="T13" fmla="*/ 120 h 406"/>
              <a:gd name="T14" fmla="*/ 434 w 438"/>
              <a:gd name="T15" fmla="*/ 157 h 406"/>
              <a:gd name="T16" fmla="*/ 438 w 438"/>
              <a:gd name="T17" fmla="*/ 195 h 406"/>
              <a:gd name="T18" fmla="*/ 438 w 438"/>
              <a:gd name="T19" fmla="*/ 223 h 406"/>
              <a:gd name="T20" fmla="*/ 435 w 438"/>
              <a:gd name="T21" fmla="*/ 237 h 406"/>
              <a:gd name="T22" fmla="*/ 425 w 438"/>
              <a:gd name="T23" fmla="*/ 259 h 406"/>
              <a:gd name="T24" fmla="*/ 407 w 438"/>
              <a:gd name="T25" fmla="*/ 287 h 406"/>
              <a:gd name="T26" fmla="*/ 391 w 438"/>
              <a:gd name="T27" fmla="*/ 307 h 406"/>
              <a:gd name="T28" fmla="*/ 381 w 438"/>
              <a:gd name="T29" fmla="*/ 320 h 406"/>
              <a:gd name="T30" fmla="*/ 374 w 438"/>
              <a:gd name="T31" fmla="*/ 332 h 406"/>
              <a:gd name="T32" fmla="*/ 372 w 438"/>
              <a:gd name="T33" fmla="*/ 352 h 406"/>
              <a:gd name="T34" fmla="*/ 359 w 438"/>
              <a:gd name="T35" fmla="*/ 372 h 406"/>
              <a:gd name="T36" fmla="*/ 321 w 438"/>
              <a:gd name="T37" fmla="*/ 401 h 406"/>
              <a:gd name="T38" fmla="*/ 205 w 438"/>
              <a:gd name="T39" fmla="*/ 388 h 406"/>
              <a:gd name="T40" fmla="*/ 182 w 438"/>
              <a:gd name="T41" fmla="*/ 379 h 406"/>
              <a:gd name="T42" fmla="*/ 165 w 438"/>
              <a:gd name="T43" fmla="*/ 370 h 406"/>
              <a:gd name="T44" fmla="*/ 150 w 438"/>
              <a:gd name="T45" fmla="*/ 359 h 406"/>
              <a:gd name="T46" fmla="*/ 139 w 438"/>
              <a:gd name="T47" fmla="*/ 346 h 406"/>
              <a:gd name="T48" fmla="*/ 124 w 438"/>
              <a:gd name="T49" fmla="*/ 322 h 406"/>
              <a:gd name="T50" fmla="*/ 108 w 438"/>
              <a:gd name="T51" fmla="*/ 296 h 406"/>
              <a:gd name="T52" fmla="*/ 94 w 438"/>
              <a:gd name="T53" fmla="*/ 279 h 406"/>
              <a:gd name="T54" fmla="*/ 72 w 438"/>
              <a:gd name="T55" fmla="*/ 259 h 406"/>
              <a:gd name="T56" fmla="*/ 44 w 438"/>
              <a:gd name="T57" fmla="*/ 234 h 406"/>
              <a:gd name="T58" fmla="*/ 24 w 438"/>
              <a:gd name="T59" fmla="*/ 213 h 406"/>
              <a:gd name="T60" fmla="*/ 13 w 438"/>
              <a:gd name="T61" fmla="*/ 195 h 406"/>
              <a:gd name="T62" fmla="*/ 4 w 438"/>
              <a:gd name="T63" fmla="*/ 176 h 406"/>
              <a:gd name="T64" fmla="*/ 0 w 438"/>
              <a:gd name="T65" fmla="*/ 154 h 406"/>
              <a:gd name="T66" fmla="*/ 18 w 438"/>
              <a:gd name="T67" fmla="*/ 141 h 406"/>
              <a:gd name="T68" fmla="*/ 40 w 438"/>
              <a:gd name="T69" fmla="*/ 141 h 406"/>
              <a:gd name="T70" fmla="*/ 53 w 438"/>
              <a:gd name="T71" fmla="*/ 141 h 406"/>
              <a:gd name="T72" fmla="*/ 63 w 438"/>
              <a:gd name="T73" fmla="*/ 138 h 406"/>
              <a:gd name="T74" fmla="*/ 77 w 438"/>
              <a:gd name="T75" fmla="*/ 131 h 406"/>
              <a:gd name="T76" fmla="*/ 99 w 438"/>
              <a:gd name="T77" fmla="*/ 108 h 406"/>
              <a:gd name="T78" fmla="*/ 117 w 438"/>
              <a:gd name="T79" fmla="*/ 87 h 406"/>
              <a:gd name="T80" fmla="*/ 130 w 438"/>
              <a:gd name="T81" fmla="*/ 80 h 406"/>
              <a:gd name="T82" fmla="*/ 150 w 438"/>
              <a:gd name="T83" fmla="*/ 71 h 406"/>
              <a:gd name="T84" fmla="*/ 179 w 438"/>
              <a:gd name="T85" fmla="*/ 60 h 406"/>
              <a:gd name="T86" fmla="*/ 203 w 438"/>
              <a:gd name="T87" fmla="*/ 50 h 406"/>
              <a:gd name="T88" fmla="*/ 211 w 438"/>
              <a:gd name="T89" fmla="*/ 43 h 406"/>
              <a:gd name="T90" fmla="*/ 210 w 438"/>
              <a:gd name="T91" fmla="*/ 38 h 406"/>
              <a:gd name="T92" fmla="*/ 211 w 438"/>
              <a:gd name="T93" fmla="*/ 30 h 406"/>
              <a:gd name="T94" fmla="*/ 213 w 438"/>
              <a:gd name="T95" fmla="*/ 17 h 406"/>
              <a:gd name="T96" fmla="*/ 217 w 438"/>
              <a:gd name="T97" fmla="*/ 12 h 406"/>
              <a:gd name="T98" fmla="*/ 225 w 438"/>
              <a:gd name="T99" fmla="*/ 12 h 406"/>
              <a:gd name="T100" fmla="*/ 232 w 438"/>
              <a:gd name="T101" fmla="*/ 9 h 406"/>
              <a:gd name="T102" fmla="*/ 236 w 438"/>
              <a:gd name="T103" fmla="*/ 4 h 406"/>
              <a:gd name="T104" fmla="*/ 244 w 438"/>
              <a:gd name="T105" fmla="*/ 2 h 406"/>
              <a:gd name="T106" fmla="*/ 251 w 438"/>
              <a:gd name="T107" fmla="*/ 3 h 406"/>
              <a:gd name="T108" fmla="*/ 264 w 438"/>
              <a:gd name="T109" fmla="*/ 1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25" name="Freeform 477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>
              <a:gd name="T0" fmla="*/ 513 w 678"/>
              <a:gd name="T1" fmla="*/ 8 h 574"/>
              <a:gd name="T2" fmla="*/ 552 w 678"/>
              <a:gd name="T3" fmla="*/ 26 h 574"/>
              <a:gd name="T4" fmla="*/ 645 w 678"/>
              <a:gd name="T5" fmla="*/ 63 h 574"/>
              <a:gd name="T6" fmla="*/ 660 w 678"/>
              <a:gd name="T7" fmla="*/ 88 h 574"/>
              <a:gd name="T8" fmla="*/ 678 w 678"/>
              <a:gd name="T9" fmla="*/ 94 h 574"/>
              <a:gd name="T10" fmla="*/ 678 w 678"/>
              <a:gd name="T11" fmla="*/ 127 h 574"/>
              <a:gd name="T12" fmla="*/ 677 w 678"/>
              <a:gd name="T13" fmla="*/ 144 h 574"/>
              <a:gd name="T14" fmla="*/ 667 w 678"/>
              <a:gd name="T15" fmla="*/ 158 h 574"/>
              <a:gd name="T16" fmla="*/ 647 w 678"/>
              <a:gd name="T17" fmla="*/ 178 h 574"/>
              <a:gd name="T18" fmla="*/ 638 w 678"/>
              <a:gd name="T19" fmla="*/ 346 h 574"/>
              <a:gd name="T20" fmla="*/ 461 w 678"/>
              <a:gd name="T21" fmla="*/ 388 h 574"/>
              <a:gd name="T22" fmla="*/ 461 w 678"/>
              <a:gd name="T23" fmla="*/ 415 h 574"/>
              <a:gd name="T24" fmla="*/ 455 w 678"/>
              <a:gd name="T25" fmla="*/ 435 h 574"/>
              <a:gd name="T26" fmla="*/ 444 w 678"/>
              <a:gd name="T27" fmla="*/ 435 h 574"/>
              <a:gd name="T28" fmla="*/ 434 w 678"/>
              <a:gd name="T29" fmla="*/ 440 h 574"/>
              <a:gd name="T30" fmla="*/ 425 w 678"/>
              <a:gd name="T31" fmla="*/ 445 h 574"/>
              <a:gd name="T32" fmla="*/ 414 w 678"/>
              <a:gd name="T33" fmla="*/ 447 h 574"/>
              <a:gd name="T34" fmla="*/ 411 w 678"/>
              <a:gd name="T35" fmla="*/ 463 h 574"/>
              <a:gd name="T36" fmla="*/ 410 w 678"/>
              <a:gd name="T37" fmla="*/ 474 h 574"/>
              <a:gd name="T38" fmla="*/ 403 w 678"/>
              <a:gd name="T39" fmla="*/ 483 h 574"/>
              <a:gd name="T40" fmla="*/ 365 w 678"/>
              <a:gd name="T41" fmla="*/ 498 h 574"/>
              <a:gd name="T42" fmla="*/ 330 w 678"/>
              <a:gd name="T43" fmla="*/ 513 h 574"/>
              <a:gd name="T44" fmla="*/ 313 w 678"/>
              <a:gd name="T45" fmla="*/ 525 h 574"/>
              <a:gd name="T46" fmla="*/ 277 w 678"/>
              <a:gd name="T47" fmla="*/ 564 h 574"/>
              <a:gd name="T48" fmla="*/ 258 w 678"/>
              <a:gd name="T49" fmla="*/ 573 h 574"/>
              <a:gd name="T50" fmla="*/ 238 w 678"/>
              <a:gd name="T51" fmla="*/ 574 h 574"/>
              <a:gd name="T52" fmla="*/ 193 w 678"/>
              <a:gd name="T53" fmla="*/ 574 h 574"/>
              <a:gd name="T54" fmla="*/ 186 w 678"/>
              <a:gd name="T55" fmla="*/ 559 h 574"/>
              <a:gd name="T56" fmla="*/ 165 w 678"/>
              <a:gd name="T57" fmla="*/ 547 h 574"/>
              <a:gd name="T58" fmla="*/ 133 w 678"/>
              <a:gd name="T59" fmla="*/ 545 h 574"/>
              <a:gd name="T60" fmla="*/ 93 w 678"/>
              <a:gd name="T61" fmla="*/ 556 h 574"/>
              <a:gd name="T62" fmla="*/ 33 w 678"/>
              <a:gd name="T63" fmla="*/ 527 h 574"/>
              <a:gd name="T64" fmla="*/ 0 w 678"/>
              <a:gd name="T65" fmla="*/ 285 h 574"/>
              <a:gd name="T66" fmla="*/ 73 w 678"/>
              <a:gd name="T67" fmla="*/ 286 h 574"/>
              <a:gd name="T68" fmla="*/ 103 w 678"/>
              <a:gd name="T69" fmla="*/ 282 h 574"/>
              <a:gd name="T70" fmla="*/ 119 w 678"/>
              <a:gd name="T71" fmla="*/ 275 h 574"/>
              <a:gd name="T72" fmla="*/ 129 w 678"/>
              <a:gd name="T73" fmla="*/ 256 h 574"/>
              <a:gd name="T74" fmla="*/ 131 w 678"/>
              <a:gd name="T75" fmla="*/ 229 h 574"/>
              <a:gd name="T76" fmla="*/ 126 w 678"/>
              <a:gd name="T77" fmla="*/ 185 h 574"/>
              <a:gd name="T78" fmla="*/ 130 w 678"/>
              <a:gd name="T79" fmla="*/ 165 h 574"/>
              <a:gd name="T80" fmla="*/ 140 w 678"/>
              <a:gd name="T81" fmla="*/ 171 h 574"/>
              <a:gd name="T82" fmla="*/ 174 w 678"/>
              <a:gd name="T83" fmla="*/ 175 h 574"/>
              <a:gd name="T84" fmla="*/ 188 w 678"/>
              <a:gd name="T85" fmla="*/ 186 h 574"/>
              <a:gd name="T86" fmla="*/ 195 w 678"/>
              <a:gd name="T87" fmla="*/ 201 h 574"/>
              <a:gd name="T88" fmla="*/ 208 w 678"/>
              <a:gd name="T89" fmla="*/ 210 h 574"/>
              <a:gd name="T90" fmla="*/ 241 w 678"/>
              <a:gd name="T91" fmla="*/ 217 h 574"/>
              <a:gd name="T92" fmla="*/ 269 w 678"/>
              <a:gd name="T93" fmla="*/ 214 h 574"/>
              <a:gd name="T94" fmla="*/ 301 w 678"/>
              <a:gd name="T95" fmla="*/ 199 h 574"/>
              <a:gd name="T96" fmla="*/ 319 w 678"/>
              <a:gd name="T97" fmla="*/ 196 h 574"/>
              <a:gd name="T98" fmla="*/ 331 w 678"/>
              <a:gd name="T99" fmla="*/ 193 h 574"/>
              <a:gd name="T100" fmla="*/ 343 w 678"/>
              <a:gd name="T101" fmla="*/ 190 h 574"/>
              <a:gd name="T102" fmla="*/ 357 w 678"/>
              <a:gd name="T103" fmla="*/ 182 h 574"/>
              <a:gd name="T104" fmla="*/ 368 w 678"/>
              <a:gd name="T105" fmla="*/ 168 h 574"/>
              <a:gd name="T106" fmla="*/ 383 w 678"/>
              <a:gd name="T107" fmla="*/ 126 h 574"/>
              <a:gd name="T108" fmla="*/ 403 w 678"/>
              <a:gd name="T109" fmla="*/ 47 h 574"/>
              <a:gd name="T110" fmla="*/ 414 w 678"/>
              <a:gd name="T111" fmla="*/ 10 h 574"/>
              <a:gd name="T112" fmla="*/ 431 w 678"/>
              <a:gd name="T113" fmla="*/ 6 h 574"/>
              <a:gd name="T114" fmla="*/ 453 w 678"/>
              <a:gd name="T115" fmla="*/ 8 h 574"/>
              <a:gd name="T116" fmla="*/ 482 w 678"/>
              <a:gd name="T117" fmla="*/ 1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26" name="Freeform 478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>
              <a:gd name="T0" fmla="*/ 797 w 810"/>
              <a:gd name="T1" fmla="*/ 42 h 727"/>
              <a:gd name="T2" fmla="*/ 766 w 810"/>
              <a:gd name="T3" fmla="*/ 26 h 727"/>
              <a:gd name="T4" fmla="*/ 718 w 810"/>
              <a:gd name="T5" fmla="*/ 33 h 727"/>
              <a:gd name="T6" fmla="*/ 634 w 810"/>
              <a:gd name="T7" fmla="*/ 44 h 727"/>
              <a:gd name="T8" fmla="*/ 604 w 810"/>
              <a:gd name="T9" fmla="*/ 55 h 727"/>
              <a:gd name="T10" fmla="*/ 280 w 810"/>
              <a:gd name="T11" fmla="*/ 40 h 727"/>
              <a:gd name="T12" fmla="*/ 232 w 810"/>
              <a:gd name="T13" fmla="*/ 37 h 727"/>
              <a:gd name="T14" fmla="*/ 172 w 810"/>
              <a:gd name="T15" fmla="*/ 17 h 727"/>
              <a:gd name="T16" fmla="*/ 116 w 810"/>
              <a:gd name="T17" fmla="*/ 0 h 727"/>
              <a:gd name="T18" fmla="*/ 83 w 810"/>
              <a:gd name="T19" fmla="*/ 5 h 727"/>
              <a:gd name="T20" fmla="*/ 53 w 810"/>
              <a:gd name="T21" fmla="*/ 24 h 727"/>
              <a:gd name="T22" fmla="*/ 0 w 810"/>
              <a:gd name="T23" fmla="*/ 55 h 727"/>
              <a:gd name="T24" fmla="*/ 7 w 810"/>
              <a:gd name="T25" fmla="*/ 68 h 727"/>
              <a:gd name="T26" fmla="*/ 26 w 810"/>
              <a:gd name="T27" fmla="*/ 74 h 727"/>
              <a:gd name="T28" fmla="*/ 36 w 810"/>
              <a:gd name="T29" fmla="*/ 129 h 727"/>
              <a:gd name="T30" fmla="*/ 60 w 810"/>
              <a:gd name="T31" fmla="*/ 192 h 727"/>
              <a:gd name="T32" fmla="*/ 109 w 810"/>
              <a:gd name="T33" fmla="*/ 276 h 727"/>
              <a:gd name="T34" fmla="*/ 133 w 810"/>
              <a:gd name="T35" fmla="*/ 300 h 727"/>
              <a:gd name="T36" fmla="*/ 159 w 810"/>
              <a:gd name="T37" fmla="*/ 302 h 727"/>
              <a:gd name="T38" fmla="*/ 159 w 810"/>
              <a:gd name="T39" fmla="*/ 332 h 727"/>
              <a:gd name="T40" fmla="*/ 152 w 810"/>
              <a:gd name="T41" fmla="*/ 359 h 727"/>
              <a:gd name="T42" fmla="*/ 146 w 810"/>
              <a:gd name="T43" fmla="*/ 394 h 727"/>
              <a:gd name="T44" fmla="*/ 150 w 810"/>
              <a:gd name="T45" fmla="*/ 425 h 727"/>
              <a:gd name="T46" fmla="*/ 173 w 810"/>
              <a:gd name="T47" fmla="*/ 484 h 727"/>
              <a:gd name="T48" fmla="*/ 179 w 810"/>
              <a:gd name="T49" fmla="*/ 518 h 727"/>
              <a:gd name="T50" fmla="*/ 187 w 810"/>
              <a:gd name="T51" fmla="*/ 606 h 727"/>
              <a:gd name="T52" fmla="*/ 204 w 810"/>
              <a:gd name="T53" fmla="*/ 647 h 727"/>
              <a:gd name="T54" fmla="*/ 231 w 810"/>
              <a:gd name="T55" fmla="*/ 690 h 727"/>
              <a:gd name="T56" fmla="*/ 245 w 810"/>
              <a:gd name="T57" fmla="*/ 700 h 727"/>
              <a:gd name="T58" fmla="*/ 259 w 810"/>
              <a:gd name="T59" fmla="*/ 715 h 727"/>
              <a:gd name="T60" fmla="*/ 265 w 810"/>
              <a:gd name="T61" fmla="*/ 678 h 727"/>
              <a:gd name="T62" fmla="*/ 308 w 810"/>
              <a:gd name="T63" fmla="*/ 696 h 727"/>
              <a:gd name="T64" fmla="*/ 328 w 810"/>
              <a:gd name="T65" fmla="*/ 713 h 727"/>
              <a:gd name="T66" fmla="*/ 372 w 810"/>
              <a:gd name="T67" fmla="*/ 726 h 727"/>
              <a:gd name="T68" fmla="*/ 407 w 810"/>
              <a:gd name="T69" fmla="*/ 723 h 727"/>
              <a:gd name="T70" fmla="*/ 429 w 810"/>
              <a:gd name="T71" fmla="*/ 710 h 727"/>
              <a:gd name="T72" fmla="*/ 452 w 810"/>
              <a:gd name="T73" fmla="*/ 675 h 727"/>
              <a:gd name="T74" fmla="*/ 463 w 810"/>
              <a:gd name="T75" fmla="*/ 529 h 727"/>
              <a:gd name="T76" fmla="*/ 465 w 810"/>
              <a:gd name="T77" fmla="*/ 480 h 727"/>
              <a:gd name="T78" fmla="*/ 471 w 810"/>
              <a:gd name="T79" fmla="*/ 469 h 727"/>
              <a:gd name="T80" fmla="*/ 463 w 810"/>
              <a:gd name="T81" fmla="*/ 426 h 727"/>
              <a:gd name="T82" fmla="*/ 469 w 810"/>
              <a:gd name="T83" fmla="*/ 368 h 727"/>
              <a:gd name="T84" fmla="*/ 500 w 810"/>
              <a:gd name="T85" fmla="*/ 330 h 727"/>
              <a:gd name="T86" fmla="*/ 525 w 810"/>
              <a:gd name="T87" fmla="*/ 320 h 727"/>
              <a:gd name="T88" fmla="*/ 538 w 810"/>
              <a:gd name="T89" fmla="*/ 232 h 727"/>
              <a:gd name="T90" fmla="*/ 551 w 810"/>
              <a:gd name="T91" fmla="*/ 148 h 727"/>
              <a:gd name="T92" fmla="*/ 541 w 810"/>
              <a:gd name="T93" fmla="*/ 124 h 727"/>
              <a:gd name="T94" fmla="*/ 531 w 810"/>
              <a:gd name="T95" fmla="*/ 99 h 727"/>
              <a:gd name="T96" fmla="*/ 539 w 810"/>
              <a:gd name="T97" fmla="*/ 86 h 727"/>
              <a:gd name="T98" fmla="*/ 617 w 810"/>
              <a:gd name="T99" fmla="*/ 80 h 727"/>
              <a:gd name="T100" fmla="*/ 708 w 810"/>
              <a:gd name="T101" fmla="*/ 63 h 727"/>
              <a:gd name="T102" fmla="*/ 803 w 810"/>
              <a:gd name="T103" fmla="*/ 61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27" name="Freeform 479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>
              <a:gd name="T0" fmla="*/ 203 w 365"/>
              <a:gd name="T1" fmla="*/ 250 h 271"/>
              <a:gd name="T2" fmla="*/ 163 w 365"/>
              <a:gd name="T3" fmla="*/ 246 h 271"/>
              <a:gd name="T4" fmla="*/ 121 w 365"/>
              <a:gd name="T5" fmla="*/ 247 h 271"/>
              <a:gd name="T6" fmla="*/ 92 w 365"/>
              <a:gd name="T7" fmla="*/ 250 h 271"/>
              <a:gd name="T8" fmla="*/ 74 w 365"/>
              <a:gd name="T9" fmla="*/ 255 h 271"/>
              <a:gd name="T10" fmla="*/ 26 w 365"/>
              <a:gd name="T11" fmla="*/ 271 h 271"/>
              <a:gd name="T12" fmla="*/ 20 w 365"/>
              <a:gd name="T13" fmla="*/ 270 h 271"/>
              <a:gd name="T14" fmla="*/ 17 w 365"/>
              <a:gd name="T15" fmla="*/ 266 h 271"/>
              <a:gd name="T16" fmla="*/ 18 w 365"/>
              <a:gd name="T17" fmla="*/ 254 h 271"/>
              <a:gd name="T18" fmla="*/ 26 w 365"/>
              <a:gd name="T19" fmla="*/ 228 h 271"/>
              <a:gd name="T20" fmla="*/ 61 w 365"/>
              <a:gd name="T21" fmla="*/ 226 h 271"/>
              <a:gd name="T22" fmla="*/ 89 w 365"/>
              <a:gd name="T23" fmla="*/ 222 h 271"/>
              <a:gd name="T24" fmla="*/ 115 w 365"/>
              <a:gd name="T25" fmla="*/ 218 h 271"/>
              <a:gd name="T26" fmla="*/ 146 w 365"/>
              <a:gd name="T27" fmla="*/ 216 h 271"/>
              <a:gd name="T28" fmla="*/ 182 w 365"/>
              <a:gd name="T29" fmla="*/ 218 h 271"/>
              <a:gd name="T30" fmla="*/ 199 w 365"/>
              <a:gd name="T31" fmla="*/ 218 h 271"/>
              <a:gd name="T32" fmla="*/ 219 w 365"/>
              <a:gd name="T33" fmla="*/ 216 h 271"/>
              <a:gd name="T34" fmla="*/ 215 w 365"/>
              <a:gd name="T35" fmla="*/ 208 h 271"/>
              <a:gd name="T36" fmla="*/ 210 w 365"/>
              <a:gd name="T37" fmla="*/ 201 h 271"/>
              <a:gd name="T38" fmla="*/ 195 w 365"/>
              <a:gd name="T39" fmla="*/ 194 h 271"/>
              <a:gd name="T40" fmla="*/ 175 w 365"/>
              <a:gd name="T41" fmla="*/ 191 h 271"/>
              <a:gd name="T42" fmla="*/ 152 w 365"/>
              <a:gd name="T43" fmla="*/ 190 h 271"/>
              <a:gd name="T44" fmla="*/ 93 w 365"/>
              <a:gd name="T45" fmla="*/ 192 h 271"/>
              <a:gd name="T46" fmla="*/ 64 w 365"/>
              <a:gd name="T47" fmla="*/ 196 h 271"/>
              <a:gd name="T48" fmla="*/ 33 w 365"/>
              <a:gd name="T49" fmla="*/ 203 h 271"/>
              <a:gd name="T50" fmla="*/ 38 w 365"/>
              <a:gd name="T51" fmla="*/ 183 h 271"/>
              <a:gd name="T52" fmla="*/ 39 w 365"/>
              <a:gd name="T53" fmla="*/ 172 h 271"/>
              <a:gd name="T54" fmla="*/ 26 w 365"/>
              <a:gd name="T55" fmla="*/ 164 h 271"/>
              <a:gd name="T56" fmla="*/ 13 w 365"/>
              <a:gd name="T57" fmla="*/ 160 h 271"/>
              <a:gd name="T58" fmla="*/ 11 w 365"/>
              <a:gd name="T59" fmla="*/ 147 h 271"/>
              <a:gd name="T60" fmla="*/ 6 w 365"/>
              <a:gd name="T61" fmla="*/ 143 h 271"/>
              <a:gd name="T62" fmla="*/ 2 w 365"/>
              <a:gd name="T63" fmla="*/ 141 h 271"/>
              <a:gd name="T64" fmla="*/ 0 w 365"/>
              <a:gd name="T65" fmla="*/ 135 h 271"/>
              <a:gd name="T66" fmla="*/ 5 w 365"/>
              <a:gd name="T67" fmla="*/ 115 h 271"/>
              <a:gd name="T68" fmla="*/ 17 w 365"/>
              <a:gd name="T69" fmla="*/ 92 h 271"/>
              <a:gd name="T70" fmla="*/ 30 w 365"/>
              <a:gd name="T71" fmla="*/ 69 h 271"/>
              <a:gd name="T72" fmla="*/ 39 w 365"/>
              <a:gd name="T73" fmla="*/ 49 h 271"/>
              <a:gd name="T74" fmla="*/ 48 w 365"/>
              <a:gd name="T75" fmla="*/ 42 h 271"/>
              <a:gd name="T76" fmla="*/ 49 w 365"/>
              <a:gd name="T77" fmla="*/ 48 h 271"/>
              <a:gd name="T78" fmla="*/ 52 w 365"/>
              <a:gd name="T79" fmla="*/ 36 h 271"/>
              <a:gd name="T80" fmla="*/ 75 w 365"/>
              <a:gd name="T81" fmla="*/ 31 h 271"/>
              <a:gd name="T82" fmla="*/ 114 w 365"/>
              <a:gd name="T83" fmla="*/ 18 h 271"/>
              <a:gd name="T84" fmla="*/ 165 w 365"/>
              <a:gd name="T85" fmla="*/ 0 h 271"/>
              <a:gd name="T86" fmla="*/ 184 w 365"/>
              <a:gd name="T87" fmla="*/ 15 h 271"/>
              <a:gd name="T88" fmla="*/ 202 w 365"/>
              <a:gd name="T89" fmla="*/ 24 h 271"/>
              <a:gd name="T90" fmla="*/ 220 w 365"/>
              <a:gd name="T91" fmla="*/ 29 h 271"/>
              <a:gd name="T92" fmla="*/ 239 w 365"/>
              <a:gd name="T93" fmla="*/ 30 h 271"/>
              <a:gd name="T94" fmla="*/ 241 w 365"/>
              <a:gd name="T95" fmla="*/ 52 h 271"/>
              <a:gd name="T96" fmla="*/ 247 w 365"/>
              <a:gd name="T97" fmla="*/ 69 h 271"/>
              <a:gd name="T98" fmla="*/ 254 w 365"/>
              <a:gd name="T99" fmla="*/ 84 h 271"/>
              <a:gd name="T100" fmla="*/ 264 w 365"/>
              <a:gd name="T101" fmla="*/ 95 h 271"/>
              <a:gd name="T102" fmla="*/ 305 w 365"/>
              <a:gd name="T103" fmla="*/ 129 h 271"/>
              <a:gd name="T104" fmla="*/ 352 w 365"/>
              <a:gd name="T105" fmla="*/ 234 h 271"/>
              <a:gd name="T106" fmla="*/ 359 w 365"/>
              <a:gd name="T107" fmla="*/ 257 h 271"/>
              <a:gd name="T108" fmla="*/ 365 w 365"/>
              <a:gd name="T109" fmla="*/ 271 h 271"/>
              <a:gd name="T110" fmla="*/ 321 w 365"/>
              <a:gd name="T111" fmla="*/ 259 h 271"/>
              <a:gd name="T112" fmla="*/ 275 w 365"/>
              <a:gd name="T113" fmla="*/ 252 h 271"/>
              <a:gd name="T114" fmla="*/ 248 w 365"/>
              <a:gd name="T115" fmla="*/ 251 h 271"/>
              <a:gd name="T116" fmla="*/ 219 w 365"/>
              <a:gd name="T117" fmla="*/ 252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28" name="Freeform 480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>
              <a:gd name="T0" fmla="*/ 146 w 624"/>
              <a:gd name="T1" fmla="*/ 12 h 640"/>
              <a:gd name="T2" fmla="*/ 239 w 624"/>
              <a:gd name="T3" fmla="*/ 12 h 640"/>
              <a:gd name="T4" fmla="*/ 287 w 624"/>
              <a:gd name="T5" fmla="*/ 5 h 640"/>
              <a:gd name="T6" fmla="*/ 326 w 624"/>
              <a:gd name="T7" fmla="*/ 22 h 640"/>
              <a:gd name="T8" fmla="*/ 396 w 624"/>
              <a:gd name="T9" fmla="*/ 66 h 640"/>
              <a:gd name="T10" fmla="*/ 465 w 624"/>
              <a:gd name="T11" fmla="*/ 111 h 640"/>
              <a:gd name="T12" fmla="*/ 469 w 624"/>
              <a:gd name="T13" fmla="*/ 131 h 640"/>
              <a:gd name="T14" fmla="*/ 480 w 624"/>
              <a:gd name="T15" fmla="*/ 153 h 640"/>
              <a:gd name="T16" fmla="*/ 497 w 624"/>
              <a:gd name="T17" fmla="*/ 170 h 640"/>
              <a:gd name="T18" fmla="*/ 519 w 624"/>
              <a:gd name="T19" fmla="*/ 183 h 640"/>
              <a:gd name="T20" fmla="*/ 543 w 624"/>
              <a:gd name="T21" fmla="*/ 190 h 640"/>
              <a:gd name="T22" fmla="*/ 554 w 624"/>
              <a:gd name="T23" fmla="*/ 195 h 640"/>
              <a:gd name="T24" fmla="*/ 565 w 624"/>
              <a:gd name="T25" fmla="*/ 205 h 640"/>
              <a:gd name="T26" fmla="*/ 561 w 624"/>
              <a:gd name="T27" fmla="*/ 227 h 640"/>
              <a:gd name="T28" fmla="*/ 537 w 624"/>
              <a:gd name="T29" fmla="*/ 252 h 640"/>
              <a:gd name="T30" fmla="*/ 525 w 624"/>
              <a:gd name="T31" fmla="*/ 271 h 640"/>
              <a:gd name="T32" fmla="*/ 533 w 624"/>
              <a:gd name="T33" fmla="*/ 287 h 640"/>
              <a:gd name="T34" fmla="*/ 547 w 624"/>
              <a:gd name="T35" fmla="*/ 299 h 640"/>
              <a:gd name="T36" fmla="*/ 552 w 624"/>
              <a:gd name="T37" fmla="*/ 425 h 640"/>
              <a:gd name="T38" fmla="*/ 550 w 624"/>
              <a:gd name="T39" fmla="*/ 439 h 640"/>
              <a:gd name="T40" fmla="*/ 558 w 624"/>
              <a:gd name="T41" fmla="*/ 462 h 640"/>
              <a:gd name="T42" fmla="*/ 558 w 624"/>
              <a:gd name="T43" fmla="*/ 489 h 640"/>
              <a:gd name="T44" fmla="*/ 561 w 624"/>
              <a:gd name="T45" fmla="*/ 515 h 640"/>
              <a:gd name="T46" fmla="*/ 594 w 624"/>
              <a:gd name="T47" fmla="*/ 549 h 640"/>
              <a:gd name="T48" fmla="*/ 616 w 624"/>
              <a:gd name="T49" fmla="*/ 579 h 640"/>
              <a:gd name="T50" fmla="*/ 575 w 624"/>
              <a:gd name="T51" fmla="*/ 600 h 640"/>
              <a:gd name="T52" fmla="*/ 491 w 624"/>
              <a:gd name="T53" fmla="*/ 631 h 640"/>
              <a:gd name="T54" fmla="*/ 443 w 624"/>
              <a:gd name="T55" fmla="*/ 638 h 640"/>
              <a:gd name="T56" fmla="*/ 392 w 624"/>
              <a:gd name="T57" fmla="*/ 628 h 640"/>
              <a:gd name="T58" fmla="*/ 339 w 624"/>
              <a:gd name="T59" fmla="*/ 633 h 640"/>
              <a:gd name="T60" fmla="*/ 306 w 624"/>
              <a:gd name="T61" fmla="*/ 628 h 640"/>
              <a:gd name="T62" fmla="*/ 299 w 624"/>
              <a:gd name="T63" fmla="*/ 614 h 640"/>
              <a:gd name="T64" fmla="*/ 294 w 624"/>
              <a:gd name="T65" fmla="*/ 573 h 640"/>
              <a:gd name="T66" fmla="*/ 288 w 624"/>
              <a:gd name="T67" fmla="*/ 529 h 640"/>
              <a:gd name="T68" fmla="*/ 253 w 624"/>
              <a:gd name="T69" fmla="*/ 517 h 640"/>
              <a:gd name="T70" fmla="*/ 185 w 624"/>
              <a:gd name="T71" fmla="*/ 502 h 640"/>
              <a:gd name="T72" fmla="*/ 90 w 624"/>
              <a:gd name="T73" fmla="*/ 459 h 640"/>
              <a:gd name="T74" fmla="*/ 68 w 624"/>
              <a:gd name="T75" fmla="*/ 446 h 640"/>
              <a:gd name="T76" fmla="*/ 66 w 624"/>
              <a:gd name="T77" fmla="*/ 428 h 640"/>
              <a:gd name="T78" fmla="*/ 65 w 624"/>
              <a:gd name="T79" fmla="*/ 402 h 640"/>
              <a:gd name="T80" fmla="*/ 53 w 624"/>
              <a:gd name="T81" fmla="*/ 377 h 640"/>
              <a:gd name="T82" fmla="*/ 41 w 624"/>
              <a:gd name="T83" fmla="*/ 357 h 640"/>
              <a:gd name="T84" fmla="*/ 27 w 624"/>
              <a:gd name="T85" fmla="*/ 347 h 640"/>
              <a:gd name="T86" fmla="*/ 12 w 624"/>
              <a:gd name="T87" fmla="*/ 332 h 640"/>
              <a:gd name="T88" fmla="*/ 5 w 624"/>
              <a:gd name="T89" fmla="*/ 308 h 640"/>
              <a:gd name="T90" fmla="*/ 0 w 624"/>
              <a:gd name="T91" fmla="*/ 262 h 640"/>
              <a:gd name="T92" fmla="*/ 0 w 624"/>
              <a:gd name="T93" fmla="*/ 234 h 640"/>
              <a:gd name="T94" fmla="*/ 10 w 624"/>
              <a:gd name="T95" fmla="*/ 212 h 640"/>
              <a:gd name="T96" fmla="*/ 38 w 624"/>
              <a:gd name="T97" fmla="*/ 195 h 640"/>
              <a:gd name="T98" fmla="*/ 61 w 624"/>
              <a:gd name="T99" fmla="*/ 173 h 640"/>
              <a:gd name="T100" fmla="*/ 77 w 624"/>
              <a:gd name="T101" fmla="*/ 77 h 640"/>
              <a:gd name="T102" fmla="*/ 84 w 624"/>
              <a:gd name="T103" fmla="*/ 43 h 640"/>
              <a:gd name="T104" fmla="*/ 82 w 624"/>
              <a:gd name="T105" fmla="*/ 8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29" name="Freeform 481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>
              <a:gd name="T0" fmla="*/ 13 w 52"/>
              <a:gd name="T1" fmla="*/ 50 h 50"/>
              <a:gd name="T2" fmla="*/ 0 w 52"/>
              <a:gd name="T3" fmla="*/ 32 h 50"/>
              <a:gd name="T4" fmla="*/ 2 w 52"/>
              <a:gd name="T5" fmla="*/ 25 h 50"/>
              <a:gd name="T6" fmla="*/ 6 w 52"/>
              <a:gd name="T7" fmla="*/ 18 h 50"/>
              <a:gd name="T8" fmla="*/ 12 w 52"/>
              <a:gd name="T9" fmla="*/ 13 h 50"/>
              <a:gd name="T10" fmla="*/ 18 w 52"/>
              <a:gd name="T11" fmla="*/ 9 h 50"/>
              <a:gd name="T12" fmla="*/ 26 w 52"/>
              <a:gd name="T13" fmla="*/ 5 h 50"/>
              <a:gd name="T14" fmla="*/ 34 w 52"/>
              <a:gd name="T15" fmla="*/ 3 h 50"/>
              <a:gd name="T16" fmla="*/ 43 w 52"/>
              <a:gd name="T17" fmla="*/ 1 h 50"/>
              <a:gd name="T18" fmla="*/ 52 w 52"/>
              <a:gd name="T19" fmla="*/ 0 h 50"/>
              <a:gd name="T20" fmla="*/ 40 w 52"/>
              <a:gd name="T21" fmla="*/ 11 h 50"/>
              <a:gd name="T22" fmla="*/ 27 w 52"/>
              <a:gd name="T23" fmla="*/ 22 h 50"/>
              <a:gd name="T24" fmla="*/ 22 w 52"/>
              <a:gd name="T25" fmla="*/ 30 h 50"/>
              <a:gd name="T26" fmla="*/ 17 w 52"/>
              <a:gd name="T27" fmla="*/ 36 h 50"/>
              <a:gd name="T28" fmla="*/ 14 w 52"/>
              <a:gd name="T29" fmla="*/ 43 h 50"/>
              <a:gd name="T30" fmla="*/ 13 w 52"/>
              <a:gd name="T31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30" name="Freeform 482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>
              <a:gd name="T0" fmla="*/ 76 w 320"/>
              <a:gd name="T1" fmla="*/ 231 h 234"/>
              <a:gd name="T2" fmla="*/ 61 w 320"/>
              <a:gd name="T3" fmla="*/ 226 h 234"/>
              <a:gd name="T4" fmla="*/ 66 w 320"/>
              <a:gd name="T5" fmla="*/ 222 h 234"/>
              <a:gd name="T6" fmla="*/ 77 w 320"/>
              <a:gd name="T7" fmla="*/ 217 h 234"/>
              <a:gd name="T8" fmla="*/ 64 w 320"/>
              <a:gd name="T9" fmla="*/ 204 h 234"/>
              <a:gd name="T10" fmla="*/ 43 w 320"/>
              <a:gd name="T11" fmla="*/ 189 h 234"/>
              <a:gd name="T12" fmla="*/ 36 w 320"/>
              <a:gd name="T13" fmla="*/ 179 h 234"/>
              <a:gd name="T14" fmla="*/ 34 w 320"/>
              <a:gd name="T15" fmla="*/ 171 h 234"/>
              <a:gd name="T16" fmla="*/ 34 w 320"/>
              <a:gd name="T17" fmla="*/ 164 h 234"/>
              <a:gd name="T18" fmla="*/ 36 w 320"/>
              <a:gd name="T19" fmla="*/ 157 h 234"/>
              <a:gd name="T20" fmla="*/ 43 w 320"/>
              <a:gd name="T21" fmla="*/ 149 h 234"/>
              <a:gd name="T22" fmla="*/ 56 w 320"/>
              <a:gd name="T23" fmla="*/ 141 h 234"/>
              <a:gd name="T24" fmla="*/ 73 w 320"/>
              <a:gd name="T25" fmla="*/ 137 h 234"/>
              <a:gd name="T26" fmla="*/ 80 w 320"/>
              <a:gd name="T27" fmla="*/ 126 h 234"/>
              <a:gd name="T28" fmla="*/ 67 w 320"/>
              <a:gd name="T29" fmla="*/ 111 h 234"/>
              <a:gd name="T30" fmla="*/ 61 w 320"/>
              <a:gd name="T31" fmla="*/ 102 h 234"/>
              <a:gd name="T32" fmla="*/ 60 w 320"/>
              <a:gd name="T33" fmla="*/ 86 h 234"/>
              <a:gd name="T34" fmla="*/ 55 w 320"/>
              <a:gd name="T35" fmla="*/ 70 h 234"/>
              <a:gd name="T36" fmla="*/ 46 w 320"/>
              <a:gd name="T37" fmla="*/ 46 h 234"/>
              <a:gd name="T38" fmla="*/ 33 w 320"/>
              <a:gd name="T39" fmla="*/ 31 h 234"/>
              <a:gd name="T40" fmla="*/ 20 w 320"/>
              <a:gd name="T41" fmla="*/ 25 h 234"/>
              <a:gd name="T42" fmla="*/ 7 w 320"/>
              <a:gd name="T43" fmla="*/ 10 h 234"/>
              <a:gd name="T44" fmla="*/ 9 w 320"/>
              <a:gd name="T45" fmla="*/ 0 h 234"/>
              <a:gd name="T46" fmla="*/ 24 w 320"/>
              <a:gd name="T47" fmla="*/ 0 h 234"/>
              <a:gd name="T48" fmla="*/ 38 w 320"/>
              <a:gd name="T49" fmla="*/ 3 h 234"/>
              <a:gd name="T50" fmla="*/ 56 w 320"/>
              <a:gd name="T51" fmla="*/ 16 h 234"/>
              <a:gd name="T52" fmla="*/ 78 w 320"/>
              <a:gd name="T53" fmla="*/ 35 h 234"/>
              <a:gd name="T54" fmla="*/ 96 w 320"/>
              <a:gd name="T55" fmla="*/ 48 h 234"/>
              <a:gd name="T56" fmla="*/ 119 w 320"/>
              <a:gd name="T57" fmla="*/ 58 h 234"/>
              <a:gd name="T58" fmla="*/ 152 w 320"/>
              <a:gd name="T59" fmla="*/ 70 h 234"/>
              <a:gd name="T60" fmla="*/ 181 w 320"/>
              <a:gd name="T61" fmla="*/ 79 h 234"/>
              <a:gd name="T62" fmla="*/ 214 w 320"/>
              <a:gd name="T63" fmla="*/ 85 h 234"/>
              <a:gd name="T64" fmla="*/ 236 w 320"/>
              <a:gd name="T65" fmla="*/ 77 h 234"/>
              <a:gd name="T66" fmla="*/ 257 w 320"/>
              <a:gd name="T67" fmla="*/ 83 h 234"/>
              <a:gd name="T68" fmla="*/ 284 w 320"/>
              <a:gd name="T69" fmla="*/ 107 h 234"/>
              <a:gd name="T70" fmla="*/ 305 w 320"/>
              <a:gd name="T71" fmla="*/ 119 h 234"/>
              <a:gd name="T72" fmla="*/ 297 w 320"/>
              <a:gd name="T73" fmla="*/ 133 h 234"/>
              <a:gd name="T74" fmla="*/ 268 w 320"/>
              <a:gd name="T75" fmla="*/ 144 h 234"/>
              <a:gd name="T76" fmla="*/ 249 w 320"/>
              <a:gd name="T77" fmla="*/ 148 h 234"/>
              <a:gd name="T78" fmla="*/ 237 w 320"/>
              <a:gd name="T79" fmla="*/ 159 h 234"/>
              <a:gd name="T80" fmla="*/ 232 w 320"/>
              <a:gd name="T81" fmla="*/ 176 h 234"/>
              <a:gd name="T82" fmla="*/ 231 w 320"/>
              <a:gd name="T83" fmla="*/ 187 h 234"/>
              <a:gd name="T84" fmla="*/ 222 w 320"/>
              <a:gd name="T85" fmla="*/ 192 h 234"/>
              <a:gd name="T86" fmla="*/ 204 w 320"/>
              <a:gd name="T87" fmla="*/ 189 h 234"/>
              <a:gd name="T88" fmla="*/ 186 w 320"/>
              <a:gd name="T89" fmla="*/ 181 h 234"/>
              <a:gd name="T90" fmla="*/ 168 w 320"/>
              <a:gd name="T91" fmla="*/ 170 h 234"/>
              <a:gd name="T92" fmla="*/ 155 w 320"/>
              <a:gd name="T93" fmla="*/ 164 h 234"/>
              <a:gd name="T94" fmla="*/ 145 w 320"/>
              <a:gd name="T95" fmla="*/ 161 h 234"/>
              <a:gd name="T96" fmla="*/ 131 w 320"/>
              <a:gd name="T97" fmla="*/ 162 h 234"/>
              <a:gd name="T98" fmla="*/ 114 w 320"/>
              <a:gd name="T99" fmla="*/ 167 h 234"/>
              <a:gd name="T100" fmla="*/ 100 w 320"/>
              <a:gd name="T101" fmla="*/ 173 h 234"/>
              <a:gd name="T102" fmla="*/ 87 w 320"/>
              <a:gd name="T103" fmla="*/ 178 h 234"/>
              <a:gd name="T104" fmla="*/ 85 w 320"/>
              <a:gd name="T105" fmla="*/ 183 h 234"/>
              <a:gd name="T106" fmla="*/ 96 w 320"/>
              <a:gd name="T107" fmla="*/ 191 h 234"/>
              <a:gd name="T108" fmla="*/ 116 w 320"/>
              <a:gd name="T109" fmla="*/ 200 h 234"/>
              <a:gd name="T110" fmla="*/ 126 w 320"/>
              <a:gd name="T111" fmla="*/ 212 h 234"/>
              <a:gd name="T112" fmla="*/ 113 w 320"/>
              <a:gd name="T113" fmla="*/ 224 h 234"/>
              <a:gd name="T114" fmla="*/ 102 w 320"/>
              <a:gd name="T115" fmla="*/ 231 h 234"/>
              <a:gd name="T116" fmla="*/ 91 w 320"/>
              <a:gd name="T117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31" name="Freeform 483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>
              <a:gd name="T0" fmla="*/ 33 w 125"/>
              <a:gd name="T1" fmla="*/ 19 h 93"/>
              <a:gd name="T2" fmla="*/ 43 w 125"/>
              <a:gd name="T3" fmla="*/ 19 h 93"/>
              <a:gd name="T4" fmla="*/ 52 w 125"/>
              <a:gd name="T5" fmla="*/ 19 h 93"/>
              <a:gd name="T6" fmla="*/ 55 w 125"/>
              <a:gd name="T7" fmla="*/ 19 h 93"/>
              <a:gd name="T8" fmla="*/ 58 w 125"/>
              <a:gd name="T9" fmla="*/ 17 h 93"/>
              <a:gd name="T10" fmla="*/ 61 w 125"/>
              <a:gd name="T11" fmla="*/ 15 h 93"/>
              <a:gd name="T12" fmla="*/ 65 w 125"/>
              <a:gd name="T13" fmla="*/ 11 h 93"/>
              <a:gd name="T14" fmla="*/ 68 w 125"/>
              <a:gd name="T15" fmla="*/ 8 h 93"/>
              <a:gd name="T16" fmla="*/ 70 w 125"/>
              <a:gd name="T17" fmla="*/ 5 h 93"/>
              <a:gd name="T18" fmla="*/ 72 w 125"/>
              <a:gd name="T19" fmla="*/ 3 h 93"/>
              <a:gd name="T20" fmla="*/ 72 w 125"/>
              <a:gd name="T21" fmla="*/ 0 h 93"/>
              <a:gd name="T22" fmla="*/ 118 w 125"/>
              <a:gd name="T23" fmla="*/ 0 h 93"/>
              <a:gd name="T24" fmla="*/ 122 w 125"/>
              <a:gd name="T25" fmla="*/ 15 h 93"/>
              <a:gd name="T26" fmla="*/ 125 w 125"/>
              <a:gd name="T27" fmla="*/ 25 h 93"/>
              <a:gd name="T28" fmla="*/ 124 w 125"/>
              <a:gd name="T29" fmla="*/ 29 h 93"/>
              <a:gd name="T30" fmla="*/ 122 w 125"/>
              <a:gd name="T31" fmla="*/ 33 h 93"/>
              <a:gd name="T32" fmla="*/ 119 w 125"/>
              <a:gd name="T33" fmla="*/ 35 h 93"/>
              <a:gd name="T34" fmla="*/ 117 w 125"/>
              <a:gd name="T35" fmla="*/ 37 h 93"/>
              <a:gd name="T36" fmla="*/ 111 w 125"/>
              <a:gd name="T37" fmla="*/ 40 h 93"/>
              <a:gd name="T38" fmla="*/ 104 w 125"/>
              <a:gd name="T39" fmla="*/ 41 h 93"/>
              <a:gd name="T40" fmla="*/ 88 w 125"/>
              <a:gd name="T41" fmla="*/ 41 h 93"/>
              <a:gd name="T42" fmla="*/ 72 w 125"/>
              <a:gd name="T43" fmla="*/ 43 h 93"/>
              <a:gd name="T44" fmla="*/ 70 w 125"/>
              <a:gd name="T45" fmla="*/ 47 h 93"/>
              <a:gd name="T46" fmla="*/ 69 w 125"/>
              <a:gd name="T47" fmla="*/ 53 h 93"/>
              <a:gd name="T48" fmla="*/ 67 w 125"/>
              <a:gd name="T49" fmla="*/ 61 h 93"/>
              <a:gd name="T50" fmla="*/ 67 w 125"/>
              <a:gd name="T51" fmla="*/ 71 h 93"/>
              <a:gd name="T52" fmla="*/ 66 w 125"/>
              <a:gd name="T53" fmla="*/ 86 h 93"/>
              <a:gd name="T54" fmla="*/ 66 w 125"/>
              <a:gd name="T55" fmla="*/ 93 h 93"/>
              <a:gd name="T56" fmla="*/ 49 w 125"/>
              <a:gd name="T57" fmla="*/ 85 h 93"/>
              <a:gd name="T58" fmla="*/ 27 w 125"/>
              <a:gd name="T59" fmla="*/ 73 h 93"/>
              <a:gd name="T60" fmla="*/ 16 w 125"/>
              <a:gd name="T61" fmla="*/ 65 h 93"/>
              <a:gd name="T62" fmla="*/ 7 w 125"/>
              <a:gd name="T63" fmla="*/ 58 h 93"/>
              <a:gd name="T64" fmla="*/ 4 w 125"/>
              <a:gd name="T65" fmla="*/ 54 h 93"/>
              <a:gd name="T66" fmla="*/ 2 w 125"/>
              <a:gd name="T67" fmla="*/ 50 h 93"/>
              <a:gd name="T68" fmla="*/ 0 w 125"/>
              <a:gd name="T69" fmla="*/ 47 h 93"/>
              <a:gd name="T70" fmla="*/ 0 w 125"/>
              <a:gd name="T71" fmla="*/ 43 h 93"/>
              <a:gd name="T72" fmla="*/ 7 w 125"/>
              <a:gd name="T73" fmla="*/ 43 h 93"/>
              <a:gd name="T74" fmla="*/ 15 w 125"/>
              <a:gd name="T75" fmla="*/ 41 h 93"/>
              <a:gd name="T76" fmla="*/ 20 w 125"/>
              <a:gd name="T77" fmla="*/ 39 h 93"/>
              <a:gd name="T78" fmla="*/ 23 w 125"/>
              <a:gd name="T79" fmla="*/ 36 h 93"/>
              <a:gd name="T80" fmla="*/ 28 w 125"/>
              <a:gd name="T81" fmla="*/ 28 h 93"/>
              <a:gd name="T82" fmla="*/ 33 w 125"/>
              <a:gd name="T83" fmla="*/ 19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32" name="Freeform 484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>
              <a:gd name="T0" fmla="*/ 20 w 133"/>
              <a:gd name="T1" fmla="*/ 12 h 154"/>
              <a:gd name="T2" fmla="*/ 24 w 133"/>
              <a:gd name="T3" fmla="*/ 10 h 154"/>
              <a:gd name="T4" fmla="*/ 31 w 133"/>
              <a:gd name="T5" fmla="*/ 6 h 154"/>
              <a:gd name="T6" fmla="*/ 34 w 133"/>
              <a:gd name="T7" fmla="*/ 4 h 154"/>
              <a:gd name="T8" fmla="*/ 37 w 133"/>
              <a:gd name="T9" fmla="*/ 2 h 154"/>
              <a:gd name="T10" fmla="*/ 42 w 133"/>
              <a:gd name="T11" fmla="*/ 1 h 154"/>
              <a:gd name="T12" fmla="*/ 46 w 133"/>
              <a:gd name="T13" fmla="*/ 0 h 154"/>
              <a:gd name="T14" fmla="*/ 59 w 133"/>
              <a:gd name="T15" fmla="*/ 1 h 154"/>
              <a:gd name="T16" fmla="*/ 70 w 133"/>
              <a:gd name="T17" fmla="*/ 4 h 154"/>
              <a:gd name="T18" fmla="*/ 81 w 133"/>
              <a:gd name="T19" fmla="*/ 8 h 154"/>
              <a:gd name="T20" fmla="*/ 90 w 133"/>
              <a:gd name="T21" fmla="*/ 14 h 154"/>
              <a:gd name="T22" fmla="*/ 99 w 133"/>
              <a:gd name="T23" fmla="*/ 21 h 154"/>
              <a:gd name="T24" fmla="*/ 105 w 133"/>
              <a:gd name="T25" fmla="*/ 30 h 154"/>
              <a:gd name="T26" fmla="*/ 112 w 133"/>
              <a:gd name="T27" fmla="*/ 40 h 154"/>
              <a:gd name="T28" fmla="*/ 116 w 133"/>
              <a:gd name="T29" fmla="*/ 50 h 154"/>
              <a:gd name="T30" fmla="*/ 121 w 133"/>
              <a:gd name="T31" fmla="*/ 60 h 154"/>
              <a:gd name="T32" fmla="*/ 124 w 133"/>
              <a:gd name="T33" fmla="*/ 71 h 154"/>
              <a:gd name="T34" fmla="*/ 127 w 133"/>
              <a:gd name="T35" fmla="*/ 82 h 154"/>
              <a:gd name="T36" fmla="*/ 130 w 133"/>
              <a:gd name="T37" fmla="*/ 94 h 154"/>
              <a:gd name="T38" fmla="*/ 132 w 133"/>
              <a:gd name="T39" fmla="*/ 116 h 154"/>
              <a:gd name="T40" fmla="*/ 133 w 133"/>
              <a:gd name="T41" fmla="*/ 135 h 154"/>
              <a:gd name="T42" fmla="*/ 132 w 133"/>
              <a:gd name="T43" fmla="*/ 138 h 154"/>
              <a:gd name="T44" fmla="*/ 130 w 133"/>
              <a:gd name="T45" fmla="*/ 141 h 154"/>
              <a:gd name="T46" fmla="*/ 125 w 133"/>
              <a:gd name="T47" fmla="*/ 144 h 154"/>
              <a:gd name="T48" fmla="*/ 121 w 133"/>
              <a:gd name="T49" fmla="*/ 147 h 154"/>
              <a:gd name="T50" fmla="*/ 115 w 133"/>
              <a:gd name="T51" fmla="*/ 150 h 154"/>
              <a:gd name="T52" fmla="*/ 110 w 133"/>
              <a:gd name="T53" fmla="*/ 153 h 154"/>
              <a:gd name="T54" fmla="*/ 104 w 133"/>
              <a:gd name="T55" fmla="*/ 154 h 154"/>
              <a:gd name="T56" fmla="*/ 99 w 133"/>
              <a:gd name="T57" fmla="*/ 154 h 154"/>
              <a:gd name="T58" fmla="*/ 93 w 133"/>
              <a:gd name="T59" fmla="*/ 153 h 154"/>
              <a:gd name="T60" fmla="*/ 87 w 133"/>
              <a:gd name="T61" fmla="*/ 149 h 154"/>
              <a:gd name="T62" fmla="*/ 79 w 133"/>
              <a:gd name="T63" fmla="*/ 141 h 154"/>
              <a:gd name="T64" fmla="*/ 71 w 133"/>
              <a:gd name="T65" fmla="*/ 134 h 154"/>
              <a:gd name="T66" fmla="*/ 64 w 133"/>
              <a:gd name="T67" fmla="*/ 126 h 154"/>
              <a:gd name="T68" fmla="*/ 58 w 133"/>
              <a:gd name="T69" fmla="*/ 118 h 154"/>
              <a:gd name="T70" fmla="*/ 54 w 133"/>
              <a:gd name="T71" fmla="*/ 111 h 154"/>
              <a:gd name="T72" fmla="*/ 53 w 133"/>
              <a:gd name="T73" fmla="*/ 105 h 154"/>
              <a:gd name="T74" fmla="*/ 54 w 133"/>
              <a:gd name="T75" fmla="*/ 98 h 154"/>
              <a:gd name="T76" fmla="*/ 56 w 133"/>
              <a:gd name="T77" fmla="*/ 83 h 154"/>
              <a:gd name="T78" fmla="*/ 58 w 133"/>
              <a:gd name="T79" fmla="*/ 68 h 154"/>
              <a:gd name="T80" fmla="*/ 59 w 133"/>
              <a:gd name="T81" fmla="*/ 62 h 154"/>
              <a:gd name="T82" fmla="*/ 47 w 133"/>
              <a:gd name="T83" fmla="*/ 61 h 154"/>
              <a:gd name="T84" fmla="*/ 36 w 133"/>
              <a:gd name="T85" fmla="*/ 59 h 154"/>
              <a:gd name="T86" fmla="*/ 25 w 133"/>
              <a:gd name="T87" fmla="*/ 56 h 154"/>
              <a:gd name="T88" fmla="*/ 17 w 133"/>
              <a:gd name="T89" fmla="*/ 52 h 154"/>
              <a:gd name="T90" fmla="*/ 13 w 133"/>
              <a:gd name="T91" fmla="*/ 49 h 154"/>
              <a:gd name="T92" fmla="*/ 10 w 133"/>
              <a:gd name="T93" fmla="*/ 46 h 154"/>
              <a:gd name="T94" fmla="*/ 7 w 133"/>
              <a:gd name="T95" fmla="*/ 43 h 154"/>
              <a:gd name="T96" fmla="*/ 4 w 133"/>
              <a:gd name="T97" fmla="*/ 39 h 154"/>
              <a:gd name="T98" fmla="*/ 2 w 133"/>
              <a:gd name="T99" fmla="*/ 34 h 154"/>
              <a:gd name="T100" fmla="*/ 1 w 133"/>
              <a:gd name="T101" fmla="*/ 29 h 154"/>
              <a:gd name="T102" fmla="*/ 0 w 133"/>
              <a:gd name="T103" fmla="*/ 24 h 154"/>
              <a:gd name="T104" fmla="*/ 0 w 133"/>
              <a:gd name="T105" fmla="*/ 18 h 154"/>
              <a:gd name="T106" fmla="*/ 7 w 133"/>
              <a:gd name="T107" fmla="*/ 15 h 154"/>
              <a:gd name="T108" fmla="*/ 20 w 133"/>
              <a:gd name="T109" fmla="*/ 12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33" name="Freeform 485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>
              <a:gd name="T0" fmla="*/ 134 w 485"/>
              <a:gd name="T1" fmla="*/ 351 h 468"/>
              <a:gd name="T2" fmla="*/ 167 w 485"/>
              <a:gd name="T3" fmla="*/ 339 h 468"/>
              <a:gd name="T4" fmla="*/ 200 w 485"/>
              <a:gd name="T5" fmla="*/ 339 h 468"/>
              <a:gd name="T6" fmla="*/ 226 w 485"/>
              <a:gd name="T7" fmla="*/ 348 h 468"/>
              <a:gd name="T8" fmla="*/ 224 w 485"/>
              <a:gd name="T9" fmla="*/ 327 h 468"/>
              <a:gd name="T10" fmla="*/ 220 w 485"/>
              <a:gd name="T11" fmla="*/ 316 h 468"/>
              <a:gd name="T12" fmla="*/ 233 w 485"/>
              <a:gd name="T13" fmla="*/ 303 h 468"/>
              <a:gd name="T14" fmla="*/ 239 w 485"/>
              <a:gd name="T15" fmla="*/ 276 h 468"/>
              <a:gd name="T16" fmla="*/ 242 w 485"/>
              <a:gd name="T17" fmla="*/ 246 h 468"/>
              <a:gd name="T18" fmla="*/ 268 w 485"/>
              <a:gd name="T19" fmla="*/ 255 h 468"/>
              <a:gd name="T20" fmla="*/ 300 w 485"/>
              <a:gd name="T21" fmla="*/ 238 h 468"/>
              <a:gd name="T22" fmla="*/ 316 w 485"/>
              <a:gd name="T23" fmla="*/ 217 h 468"/>
              <a:gd name="T24" fmla="*/ 293 w 485"/>
              <a:gd name="T25" fmla="*/ 194 h 468"/>
              <a:gd name="T26" fmla="*/ 318 w 485"/>
              <a:gd name="T27" fmla="*/ 199 h 468"/>
              <a:gd name="T28" fmla="*/ 343 w 485"/>
              <a:gd name="T29" fmla="*/ 202 h 468"/>
              <a:gd name="T30" fmla="*/ 346 w 485"/>
              <a:gd name="T31" fmla="*/ 185 h 468"/>
              <a:gd name="T32" fmla="*/ 295 w 485"/>
              <a:gd name="T33" fmla="*/ 96 h 468"/>
              <a:gd name="T34" fmla="*/ 285 w 485"/>
              <a:gd name="T35" fmla="*/ 53 h 468"/>
              <a:gd name="T36" fmla="*/ 291 w 485"/>
              <a:gd name="T37" fmla="*/ 19 h 468"/>
              <a:gd name="T38" fmla="*/ 316 w 485"/>
              <a:gd name="T39" fmla="*/ 1 h 468"/>
              <a:gd name="T40" fmla="*/ 336 w 485"/>
              <a:gd name="T41" fmla="*/ 18 h 468"/>
              <a:gd name="T42" fmla="*/ 377 w 485"/>
              <a:gd name="T43" fmla="*/ 45 h 468"/>
              <a:gd name="T44" fmla="*/ 415 w 485"/>
              <a:gd name="T45" fmla="*/ 72 h 468"/>
              <a:gd name="T46" fmla="*/ 426 w 485"/>
              <a:gd name="T47" fmla="*/ 98 h 468"/>
              <a:gd name="T48" fmla="*/ 436 w 485"/>
              <a:gd name="T49" fmla="*/ 137 h 468"/>
              <a:gd name="T50" fmla="*/ 445 w 485"/>
              <a:gd name="T51" fmla="*/ 173 h 468"/>
              <a:gd name="T52" fmla="*/ 428 w 485"/>
              <a:gd name="T53" fmla="*/ 179 h 468"/>
              <a:gd name="T54" fmla="*/ 412 w 485"/>
              <a:gd name="T55" fmla="*/ 185 h 468"/>
              <a:gd name="T56" fmla="*/ 426 w 485"/>
              <a:gd name="T57" fmla="*/ 199 h 468"/>
              <a:gd name="T58" fmla="*/ 445 w 485"/>
              <a:gd name="T59" fmla="*/ 203 h 468"/>
              <a:gd name="T60" fmla="*/ 455 w 485"/>
              <a:gd name="T61" fmla="*/ 262 h 468"/>
              <a:gd name="T62" fmla="*/ 475 w 485"/>
              <a:gd name="T63" fmla="*/ 312 h 468"/>
              <a:gd name="T64" fmla="*/ 480 w 485"/>
              <a:gd name="T65" fmla="*/ 381 h 468"/>
              <a:gd name="T66" fmla="*/ 463 w 485"/>
              <a:gd name="T67" fmla="*/ 364 h 468"/>
              <a:gd name="T68" fmla="*/ 453 w 485"/>
              <a:gd name="T69" fmla="*/ 356 h 468"/>
              <a:gd name="T70" fmla="*/ 436 w 485"/>
              <a:gd name="T71" fmla="*/ 363 h 468"/>
              <a:gd name="T72" fmla="*/ 429 w 485"/>
              <a:gd name="T73" fmla="*/ 399 h 468"/>
              <a:gd name="T74" fmla="*/ 408 w 485"/>
              <a:gd name="T75" fmla="*/ 389 h 468"/>
              <a:gd name="T76" fmla="*/ 389 w 485"/>
              <a:gd name="T77" fmla="*/ 382 h 468"/>
              <a:gd name="T78" fmla="*/ 376 w 485"/>
              <a:gd name="T79" fmla="*/ 402 h 468"/>
              <a:gd name="T80" fmla="*/ 345 w 485"/>
              <a:gd name="T81" fmla="*/ 413 h 468"/>
              <a:gd name="T82" fmla="*/ 334 w 485"/>
              <a:gd name="T83" fmla="*/ 400 h 468"/>
              <a:gd name="T84" fmla="*/ 312 w 485"/>
              <a:gd name="T85" fmla="*/ 395 h 468"/>
              <a:gd name="T86" fmla="*/ 303 w 485"/>
              <a:gd name="T87" fmla="*/ 426 h 468"/>
              <a:gd name="T88" fmla="*/ 299 w 485"/>
              <a:gd name="T89" fmla="*/ 450 h 468"/>
              <a:gd name="T90" fmla="*/ 307 w 485"/>
              <a:gd name="T91" fmla="*/ 466 h 468"/>
              <a:gd name="T92" fmla="*/ 272 w 485"/>
              <a:gd name="T93" fmla="*/ 468 h 468"/>
              <a:gd name="T94" fmla="*/ 258 w 485"/>
              <a:gd name="T95" fmla="*/ 465 h 468"/>
              <a:gd name="T96" fmla="*/ 244 w 485"/>
              <a:gd name="T97" fmla="*/ 440 h 468"/>
              <a:gd name="T98" fmla="*/ 229 w 485"/>
              <a:gd name="T99" fmla="*/ 418 h 468"/>
              <a:gd name="T100" fmla="*/ 204 w 485"/>
              <a:gd name="T101" fmla="*/ 406 h 468"/>
              <a:gd name="T102" fmla="*/ 190 w 485"/>
              <a:gd name="T103" fmla="*/ 394 h 468"/>
              <a:gd name="T104" fmla="*/ 136 w 485"/>
              <a:gd name="T105" fmla="*/ 417 h 468"/>
              <a:gd name="T106" fmla="*/ 90 w 485"/>
              <a:gd name="T107" fmla="*/ 435 h 468"/>
              <a:gd name="T108" fmla="*/ 65 w 485"/>
              <a:gd name="T109" fmla="*/ 459 h 468"/>
              <a:gd name="T110" fmla="*/ 27 w 485"/>
              <a:gd name="T111" fmla="*/ 461 h 468"/>
              <a:gd name="T112" fmla="*/ 7 w 485"/>
              <a:gd name="T113" fmla="*/ 438 h 468"/>
              <a:gd name="T114" fmla="*/ 0 w 485"/>
              <a:gd name="T115" fmla="*/ 417 h 468"/>
              <a:gd name="T116" fmla="*/ 7 w 485"/>
              <a:gd name="T117" fmla="*/ 413 h 468"/>
              <a:gd name="T118" fmla="*/ 27 w 485"/>
              <a:gd name="T119" fmla="*/ 414 h 468"/>
              <a:gd name="T120" fmla="*/ 48 w 485"/>
              <a:gd name="T121" fmla="*/ 405 h 468"/>
              <a:gd name="T122" fmla="*/ 72 w 485"/>
              <a:gd name="T123" fmla="*/ 369 h 468"/>
              <a:gd name="T124" fmla="*/ 93 w 485"/>
              <a:gd name="T125" fmla="*/ 352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34" name="Freeform 486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35" name="Freeform 487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36" name="Freeform 488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37" name="Freeform 489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>
              <a:gd name="T0" fmla="*/ 93 w 100"/>
              <a:gd name="T1" fmla="*/ 0 h 42"/>
              <a:gd name="T2" fmla="*/ 97 w 100"/>
              <a:gd name="T3" fmla="*/ 7 h 42"/>
              <a:gd name="T4" fmla="*/ 100 w 100"/>
              <a:gd name="T5" fmla="*/ 18 h 42"/>
              <a:gd name="T6" fmla="*/ 92 w 100"/>
              <a:gd name="T7" fmla="*/ 24 h 42"/>
              <a:gd name="T8" fmla="*/ 86 w 100"/>
              <a:gd name="T9" fmla="*/ 29 h 42"/>
              <a:gd name="T10" fmla="*/ 79 w 100"/>
              <a:gd name="T11" fmla="*/ 34 h 42"/>
              <a:gd name="T12" fmla="*/ 72 w 100"/>
              <a:gd name="T13" fmla="*/ 37 h 42"/>
              <a:gd name="T14" fmla="*/ 65 w 100"/>
              <a:gd name="T15" fmla="*/ 39 h 42"/>
              <a:gd name="T16" fmla="*/ 57 w 100"/>
              <a:gd name="T17" fmla="*/ 41 h 42"/>
              <a:gd name="T18" fmla="*/ 49 w 100"/>
              <a:gd name="T19" fmla="*/ 42 h 42"/>
              <a:gd name="T20" fmla="*/ 40 w 100"/>
              <a:gd name="T21" fmla="*/ 42 h 42"/>
              <a:gd name="T22" fmla="*/ 27 w 100"/>
              <a:gd name="T23" fmla="*/ 41 h 42"/>
              <a:gd name="T24" fmla="*/ 12 w 100"/>
              <a:gd name="T25" fmla="*/ 39 h 42"/>
              <a:gd name="T26" fmla="*/ 1 w 100"/>
              <a:gd name="T27" fmla="*/ 37 h 42"/>
              <a:gd name="T28" fmla="*/ 0 w 100"/>
              <a:gd name="T29" fmla="*/ 36 h 42"/>
              <a:gd name="T30" fmla="*/ 6 w 100"/>
              <a:gd name="T31" fmla="*/ 36 h 42"/>
              <a:gd name="T32" fmla="*/ 12 w 100"/>
              <a:gd name="T33" fmla="*/ 35 h 42"/>
              <a:gd name="T34" fmla="*/ 18 w 100"/>
              <a:gd name="T35" fmla="*/ 33 h 42"/>
              <a:gd name="T36" fmla="*/ 23 w 100"/>
              <a:gd name="T37" fmla="*/ 30 h 42"/>
              <a:gd name="T38" fmla="*/ 33 w 100"/>
              <a:gd name="T39" fmla="*/ 25 h 42"/>
              <a:gd name="T40" fmla="*/ 44 w 100"/>
              <a:gd name="T41" fmla="*/ 18 h 42"/>
              <a:gd name="T42" fmla="*/ 55 w 100"/>
              <a:gd name="T43" fmla="*/ 11 h 42"/>
              <a:gd name="T44" fmla="*/ 66 w 100"/>
              <a:gd name="T45" fmla="*/ 5 h 42"/>
              <a:gd name="T46" fmla="*/ 72 w 100"/>
              <a:gd name="T47" fmla="*/ 3 h 42"/>
              <a:gd name="T48" fmla="*/ 79 w 100"/>
              <a:gd name="T49" fmla="*/ 1 h 42"/>
              <a:gd name="T50" fmla="*/ 86 w 100"/>
              <a:gd name="T51" fmla="*/ 0 h 42"/>
              <a:gd name="T52" fmla="*/ 93 w 100"/>
              <a:gd name="T53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38" name="Freeform 490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>
              <a:gd name="T0" fmla="*/ 40 w 40"/>
              <a:gd name="T1" fmla="*/ 5 h 5"/>
              <a:gd name="T2" fmla="*/ 0 w 40"/>
              <a:gd name="T3" fmla="*/ 5 h 5"/>
              <a:gd name="T4" fmla="*/ 5 w 40"/>
              <a:gd name="T5" fmla="*/ 3 h 5"/>
              <a:gd name="T6" fmla="*/ 9 w 40"/>
              <a:gd name="T7" fmla="*/ 1 h 5"/>
              <a:gd name="T8" fmla="*/ 15 w 40"/>
              <a:gd name="T9" fmla="*/ 0 h 5"/>
              <a:gd name="T10" fmla="*/ 20 w 40"/>
              <a:gd name="T11" fmla="*/ 0 h 5"/>
              <a:gd name="T12" fmla="*/ 25 w 40"/>
              <a:gd name="T13" fmla="*/ 0 h 5"/>
              <a:gd name="T14" fmla="*/ 30 w 40"/>
              <a:gd name="T15" fmla="*/ 1 h 5"/>
              <a:gd name="T16" fmla="*/ 35 w 40"/>
              <a:gd name="T17" fmla="*/ 3 h 5"/>
              <a:gd name="T18" fmla="*/ 40 w 40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39" name="Freeform 491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>
              <a:gd name="T0" fmla="*/ 0 w 33"/>
              <a:gd name="T1" fmla="*/ 19 h 31"/>
              <a:gd name="T2" fmla="*/ 20 w 33"/>
              <a:gd name="T3" fmla="*/ 0 h 31"/>
              <a:gd name="T4" fmla="*/ 20 w 33"/>
              <a:gd name="T5" fmla="*/ 4 h 31"/>
              <a:gd name="T6" fmla="*/ 22 w 33"/>
              <a:gd name="T7" fmla="*/ 10 h 31"/>
              <a:gd name="T8" fmla="*/ 25 w 33"/>
              <a:gd name="T9" fmla="*/ 14 h 31"/>
              <a:gd name="T10" fmla="*/ 27 w 33"/>
              <a:gd name="T11" fmla="*/ 18 h 31"/>
              <a:gd name="T12" fmla="*/ 31 w 33"/>
              <a:gd name="T13" fmla="*/ 26 h 31"/>
              <a:gd name="T14" fmla="*/ 33 w 33"/>
              <a:gd name="T15" fmla="*/ 31 h 31"/>
              <a:gd name="T16" fmla="*/ 0 w 33"/>
              <a:gd name="T17" fmla="*/ 31 h 31"/>
              <a:gd name="T18" fmla="*/ 0 w 33"/>
              <a:gd name="T19" fmla="*/ 25 h 31"/>
              <a:gd name="T20" fmla="*/ 0 w 33"/>
              <a:gd name="T2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40" name="Freeform 492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>
              <a:gd name="T0" fmla="*/ 41 w 41"/>
              <a:gd name="T1" fmla="*/ 0 h 43"/>
              <a:gd name="T2" fmla="*/ 41 w 41"/>
              <a:gd name="T3" fmla="*/ 43 h 43"/>
              <a:gd name="T4" fmla="*/ 31 w 41"/>
              <a:gd name="T5" fmla="*/ 42 h 43"/>
              <a:gd name="T6" fmla="*/ 24 w 41"/>
              <a:gd name="T7" fmla="*/ 40 h 43"/>
              <a:gd name="T8" fmla="*/ 18 w 41"/>
              <a:gd name="T9" fmla="*/ 37 h 43"/>
              <a:gd name="T10" fmla="*/ 13 w 41"/>
              <a:gd name="T11" fmla="*/ 33 h 43"/>
              <a:gd name="T12" fmla="*/ 5 w 41"/>
              <a:gd name="T13" fmla="*/ 25 h 43"/>
              <a:gd name="T14" fmla="*/ 0 w 41"/>
              <a:gd name="T15" fmla="*/ 19 h 43"/>
              <a:gd name="T16" fmla="*/ 12 w 41"/>
              <a:gd name="T17" fmla="*/ 13 h 43"/>
              <a:gd name="T18" fmla="*/ 25 w 41"/>
              <a:gd name="T19" fmla="*/ 7 h 43"/>
              <a:gd name="T20" fmla="*/ 36 w 41"/>
              <a:gd name="T21" fmla="*/ 2 h 43"/>
              <a:gd name="T22" fmla="*/ 41 w 41"/>
              <a:gd name="T23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41" name="Freeform 493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>
              <a:gd name="T0" fmla="*/ 61 w 213"/>
              <a:gd name="T1" fmla="*/ 0 h 62"/>
              <a:gd name="T2" fmla="*/ 83 w 213"/>
              <a:gd name="T3" fmla="*/ 0 h 62"/>
              <a:gd name="T4" fmla="*/ 105 w 213"/>
              <a:gd name="T5" fmla="*/ 1 h 62"/>
              <a:gd name="T6" fmla="*/ 127 w 213"/>
              <a:gd name="T7" fmla="*/ 3 h 62"/>
              <a:gd name="T8" fmla="*/ 146 w 213"/>
              <a:gd name="T9" fmla="*/ 7 h 62"/>
              <a:gd name="T10" fmla="*/ 166 w 213"/>
              <a:gd name="T11" fmla="*/ 11 h 62"/>
              <a:gd name="T12" fmla="*/ 184 w 213"/>
              <a:gd name="T13" fmla="*/ 16 h 62"/>
              <a:gd name="T14" fmla="*/ 191 w 213"/>
              <a:gd name="T15" fmla="*/ 19 h 62"/>
              <a:gd name="T16" fmla="*/ 199 w 213"/>
              <a:gd name="T17" fmla="*/ 23 h 62"/>
              <a:gd name="T18" fmla="*/ 207 w 213"/>
              <a:gd name="T19" fmla="*/ 27 h 62"/>
              <a:gd name="T20" fmla="*/ 213 w 213"/>
              <a:gd name="T21" fmla="*/ 31 h 62"/>
              <a:gd name="T22" fmla="*/ 211 w 213"/>
              <a:gd name="T23" fmla="*/ 35 h 62"/>
              <a:gd name="T24" fmla="*/ 207 w 213"/>
              <a:gd name="T25" fmla="*/ 38 h 62"/>
              <a:gd name="T26" fmla="*/ 201 w 213"/>
              <a:gd name="T27" fmla="*/ 41 h 62"/>
              <a:gd name="T28" fmla="*/ 195 w 213"/>
              <a:gd name="T29" fmla="*/ 44 h 62"/>
              <a:gd name="T30" fmla="*/ 177 w 213"/>
              <a:gd name="T31" fmla="*/ 49 h 62"/>
              <a:gd name="T32" fmla="*/ 156 w 213"/>
              <a:gd name="T33" fmla="*/ 53 h 62"/>
              <a:gd name="T34" fmla="*/ 135 w 213"/>
              <a:gd name="T35" fmla="*/ 57 h 62"/>
              <a:gd name="T36" fmla="*/ 114 w 213"/>
              <a:gd name="T37" fmla="*/ 59 h 62"/>
              <a:gd name="T38" fmla="*/ 95 w 213"/>
              <a:gd name="T39" fmla="*/ 62 h 62"/>
              <a:gd name="T40" fmla="*/ 80 w 213"/>
              <a:gd name="T41" fmla="*/ 62 h 62"/>
              <a:gd name="T42" fmla="*/ 62 w 213"/>
              <a:gd name="T43" fmla="*/ 62 h 62"/>
              <a:gd name="T44" fmla="*/ 43 w 213"/>
              <a:gd name="T45" fmla="*/ 59 h 62"/>
              <a:gd name="T46" fmla="*/ 33 w 213"/>
              <a:gd name="T47" fmla="*/ 59 h 62"/>
              <a:gd name="T48" fmla="*/ 23 w 213"/>
              <a:gd name="T49" fmla="*/ 59 h 62"/>
              <a:gd name="T50" fmla="*/ 12 w 213"/>
              <a:gd name="T51" fmla="*/ 60 h 62"/>
              <a:gd name="T52" fmla="*/ 0 w 213"/>
              <a:gd name="T53" fmla="*/ 62 h 62"/>
              <a:gd name="T54" fmla="*/ 6 w 213"/>
              <a:gd name="T55" fmla="*/ 50 h 62"/>
              <a:gd name="T56" fmla="*/ 11 w 213"/>
              <a:gd name="T57" fmla="*/ 39 h 62"/>
              <a:gd name="T58" fmla="*/ 17 w 213"/>
              <a:gd name="T59" fmla="*/ 29 h 62"/>
              <a:gd name="T60" fmla="*/ 23 w 213"/>
              <a:gd name="T61" fmla="*/ 20 h 62"/>
              <a:gd name="T62" fmla="*/ 27 w 213"/>
              <a:gd name="T63" fmla="*/ 16 h 62"/>
              <a:gd name="T64" fmla="*/ 30 w 213"/>
              <a:gd name="T65" fmla="*/ 12 h 62"/>
              <a:gd name="T66" fmla="*/ 34 w 213"/>
              <a:gd name="T67" fmla="*/ 9 h 62"/>
              <a:gd name="T68" fmla="*/ 39 w 213"/>
              <a:gd name="T69" fmla="*/ 6 h 62"/>
              <a:gd name="T70" fmla="*/ 43 w 213"/>
              <a:gd name="T71" fmla="*/ 3 h 62"/>
              <a:gd name="T72" fmla="*/ 49 w 213"/>
              <a:gd name="T73" fmla="*/ 1 h 62"/>
              <a:gd name="T74" fmla="*/ 54 w 213"/>
              <a:gd name="T75" fmla="*/ 0 h 62"/>
              <a:gd name="T76" fmla="*/ 61 w 213"/>
              <a:gd name="T7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42" name="Freeform 494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>
              <a:gd name="T0" fmla="*/ 41 w 239"/>
              <a:gd name="T1" fmla="*/ 0 h 56"/>
              <a:gd name="T2" fmla="*/ 30 w 239"/>
              <a:gd name="T3" fmla="*/ 3 h 56"/>
              <a:gd name="T4" fmla="*/ 23 w 239"/>
              <a:gd name="T5" fmla="*/ 5 h 56"/>
              <a:gd name="T6" fmla="*/ 19 w 239"/>
              <a:gd name="T7" fmla="*/ 7 h 56"/>
              <a:gd name="T8" fmla="*/ 15 w 239"/>
              <a:gd name="T9" fmla="*/ 9 h 56"/>
              <a:gd name="T10" fmla="*/ 13 w 239"/>
              <a:gd name="T11" fmla="*/ 13 h 56"/>
              <a:gd name="T12" fmla="*/ 10 w 239"/>
              <a:gd name="T13" fmla="*/ 15 h 56"/>
              <a:gd name="T14" fmla="*/ 7 w 239"/>
              <a:gd name="T15" fmla="*/ 17 h 56"/>
              <a:gd name="T16" fmla="*/ 0 w 239"/>
              <a:gd name="T17" fmla="*/ 19 h 56"/>
              <a:gd name="T18" fmla="*/ 2 w 239"/>
              <a:gd name="T19" fmla="*/ 24 h 56"/>
              <a:gd name="T20" fmla="*/ 5 w 239"/>
              <a:gd name="T21" fmla="*/ 27 h 56"/>
              <a:gd name="T22" fmla="*/ 7 w 239"/>
              <a:gd name="T23" fmla="*/ 30 h 56"/>
              <a:gd name="T24" fmla="*/ 10 w 239"/>
              <a:gd name="T25" fmla="*/ 33 h 56"/>
              <a:gd name="T26" fmla="*/ 17 w 239"/>
              <a:gd name="T27" fmla="*/ 36 h 56"/>
              <a:gd name="T28" fmla="*/ 24 w 239"/>
              <a:gd name="T29" fmla="*/ 38 h 56"/>
              <a:gd name="T30" fmla="*/ 41 w 239"/>
              <a:gd name="T31" fmla="*/ 38 h 56"/>
              <a:gd name="T32" fmla="*/ 54 w 239"/>
              <a:gd name="T33" fmla="*/ 38 h 56"/>
              <a:gd name="T34" fmla="*/ 153 w 239"/>
              <a:gd name="T35" fmla="*/ 38 h 56"/>
              <a:gd name="T36" fmla="*/ 155 w 239"/>
              <a:gd name="T37" fmla="*/ 41 h 56"/>
              <a:gd name="T38" fmla="*/ 156 w 239"/>
              <a:gd name="T39" fmla="*/ 44 h 56"/>
              <a:gd name="T40" fmla="*/ 159 w 239"/>
              <a:gd name="T41" fmla="*/ 46 h 56"/>
              <a:gd name="T42" fmla="*/ 162 w 239"/>
              <a:gd name="T43" fmla="*/ 48 h 56"/>
              <a:gd name="T44" fmla="*/ 167 w 239"/>
              <a:gd name="T45" fmla="*/ 51 h 56"/>
              <a:gd name="T46" fmla="*/ 174 w 239"/>
              <a:gd name="T47" fmla="*/ 54 h 56"/>
              <a:gd name="T48" fmla="*/ 188 w 239"/>
              <a:gd name="T49" fmla="*/ 56 h 56"/>
              <a:gd name="T50" fmla="*/ 200 w 239"/>
              <a:gd name="T51" fmla="*/ 56 h 56"/>
              <a:gd name="T52" fmla="*/ 204 w 239"/>
              <a:gd name="T53" fmla="*/ 55 h 56"/>
              <a:gd name="T54" fmla="*/ 210 w 239"/>
              <a:gd name="T55" fmla="*/ 54 h 56"/>
              <a:gd name="T56" fmla="*/ 214 w 239"/>
              <a:gd name="T57" fmla="*/ 52 h 56"/>
              <a:gd name="T58" fmla="*/ 220 w 239"/>
              <a:gd name="T59" fmla="*/ 49 h 56"/>
              <a:gd name="T60" fmla="*/ 230 w 239"/>
              <a:gd name="T61" fmla="*/ 43 h 56"/>
              <a:gd name="T62" fmla="*/ 239 w 239"/>
              <a:gd name="T63" fmla="*/ 38 h 56"/>
              <a:gd name="T64" fmla="*/ 232 w 239"/>
              <a:gd name="T65" fmla="*/ 37 h 56"/>
              <a:gd name="T66" fmla="*/ 225 w 239"/>
              <a:gd name="T67" fmla="*/ 36 h 56"/>
              <a:gd name="T68" fmla="*/ 219 w 239"/>
              <a:gd name="T69" fmla="*/ 34 h 56"/>
              <a:gd name="T70" fmla="*/ 213 w 239"/>
              <a:gd name="T71" fmla="*/ 32 h 56"/>
              <a:gd name="T72" fmla="*/ 201 w 239"/>
              <a:gd name="T73" fmla="*/ 26 h 56"/>
              <a:gd name="T74" fmla="*/ 190 w 239"/>
              <a:gd name="T75" fmla="*/ 19 h 56"/>
              <a:gd name="T76" fmla="*/ 178 w 239"/>
              <a:gd name="T77" fmla="*/ 13 h 56"/>
              <a:gd name="T78" fmla="*/ 167 w 239"/>
              <a:gd name="T79" fmla="*/ 6 h 56"/>
              <a:gd name="T80" fmla="*/ 160 w 239"/>
              <a:gd name="T81" fmla="*/ 4 h 56"/>
              <a:gd name="T82" fmla="*/ 154 w 239"/>
              <a:gd name="T83" fmla="*/ 2 h 56"/>
              <a:gd name="T84" fmla="*/ 147 w 239"/>
              <a:gd name="T85" fmla="*/ 1 h 56"/>
              <a:gd name="T86" fmla="*/ 140 w 239"/>
              <a:gd name="T87" fmla="*/ 0 h 56"/>
              <a:gd name="T88" fmla="*/ 134 w 239"/>
              <a:gd name="T89" fmla="*/ 1 h 56"/>
              <a:gd name="T90" fmla="*/ 127 w 239"/>
              <a:gd name="T91" fmla="*/ 4 h 56"/>
              <a:gd name="T92" fmla="*/ 124 w 239"/>
              <a:gd name="T93" fmla="*/ 6 h 56"/>
              <a:gd name="T94" fmla="*/ 122 w 239"/>
              <a:gd name="T95" fmla="*/ 8 h 56"/>
              <a:gd name="T96" fmla="*/ 121 w 239"/>
              <a:gd name="T97" fmla="*/ 10 h 56"/>
              <a:gd name="T98" fmla="*/ 120 w 239"/>
              <a:gd name="T99" fmla="*/ 13 h 56"/>
              <a:gd name="T100" fmla="*/ 100 w 239"/>
              <a:gd name="T101" fmla="*/ 8 h 56"/>
              <a:gd name="T102" fmla="*/ 80 w 239"/>
              <a:gd name="T103" fmla="*/ 4 h 56"/>
              <a:gd name="T104" fmla="*/ 61 w 239"/>
              <a:gd name="T105" fmla="*/ 1 h 56"/>
              <a:gd name="T106" fmla="*/ 41 w 239"/>
              <a:gd name="T107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43" name="Freeform 495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>
              <a:gd name="T0" fmla="*/ 14 w 187"/>
              <a:gd name="T1" fmla="*/ 19 h 80"/>
              <a:gd name="T2" fmla="*/ 41 w 187"/>
              <a:gd name="T3" fmla="*/ 0 h 80"/>
              <a:gd name="T4" fmla="*/ 44 w 187"/>
              <a:gd name="T5" fmla="*/ 3 h 80"/>
              <a:gd name="T6" fmla="*/ 50 w 187"/>
              <a:gd name="T7" fmla="*/ 6 h 80"/>
              <a:gd name="T8" fmla="*/ 58 w 187"/>
              <a:gd name="T9" fmla="*/ 9 h 80"/>
              <a:gd name="T10" fmla="*/ 67 w 187"/>
              <a:gd name="T11" fmla="*/ 12 h 80"/>
              <a:gd name="T12" fmla="*/ 89 w 187"/>
              <a:gd name="T13" fmla="*/ 19 h 80"/>
              <a:gd name="T14" fmla="*/ 114 w 187"/>
              <a:gd name="T15" fmla="*/ 26 h 80"/>
              <a:gd name="T16" fmla="*/ 139 w 187"/>
              <a:gd name="T17" fmla="*/ 33 h 80"/>
              <a:gd name="T18" fmla="*/ 161 w 187"/>
              <a:gd name="T19" fmla="*/ 38 h 80"/>
              <a:gd name="T20" fmla="*/ 177 w 187"/>
              <a:gd name="T21" fmla="*/ 42 h 80"/>
              <a:gd name="T22" fmla="*/ 187 w 187"/>
              <a:gd name="T23" fmla="*/ 43 h 80"/>
              <a:gd name="T24" fmla="*/ 187 w 187"/>
              <a:gd name="T25" fmla="*/ 56 h 80"/>
              <a:gd name="T26" fmla="*/ 187 w 187"/>
              <a:gd name="T27" fmla="*/ 68 h 80"/>
              <a:gd name="T28" fmla="*/ 170 w 187"/>
              <a:gd name="T29" fmla="*/ 70 h 80"/>
              <a:gd name="T30" fmla="*/ 151 w 187"/>
              <a:gd name="T31" fmla="*/ 71 h 80"/>
              <a:gd name="T32" fmla="*/ 133 w 187"/>
              <a:gd name="T33" fmla="*/ 71 h 80"/>
              <a:gd name="T34" fmla="*/ 116 w 187"/>
              <a:gd name="T35" fmla="*/ 70 h 80"/>
              <a:gd name="T36" fmla="*/ 85 w 187"/>
              <a:gd name="T37" fmla="*/ 69 h 80"/>
              <a:gd name="T38" fmla="*/ 61 w 187"/>
              <a:gd name="T39" fmla="*/ 68 h 80"/>
              <a:gd name="T40" fmla="*/ 55 w 187"/>
              <a:gd name="T41" fmla="*/ 69 h 80"/>
              <a:gd name="T42" fmla="*/ 51 w 187"/>
              <a:gd name="T43" fmla="*/ 70 h 80"/>
              <a:gd name="T44" fmla="*/ 45 w 187"/>
              <a:gd name="T45" fmla="*/ 72 h 80"/>
              <a:gd name="T46" fmla="*/ 41 w 187"/>
              <a:gd name="T47" fmla="*/ 74 h 80"/>
              <a:gd name="T48" fmla="*/ 33 w 187"/>
              <a:gd name="T49" fmla="*/ 78 h 80"/>
              <a:gd name="T50" fmla="*/ 28 w 187"/>
              <a:gd name="T51" fmla="*/ 80 h 80"/>
              <a:gd name="T52" fmla="*/ 22 w 187"/>
              <a:gd name="T53" fmla="*/ 79 h 80"/>
              <a:gd name="T54" fmla="*/ 18 w 187"/>
              <a:gd name="T55" fmla="*/ 76 h 80"/>
              <a:gd name="T56" fmla="*/ 14 w 187"/>
              <a:gd name="T57" fmla="*/ 72 h 80"/>
              <a:gd name="T58" fmla="*/ 9 w 187"/>
              <a:gd name="T59" fmla="*/ 67 h 80"/>
              <a:gd name="T60" fmla="*/ 6 w 187"/>
              <a:gd name="T61" fmla="*/ 62 h 80"/>
              <a:gd name="T62" fmla="*/ 3 w 187"/>
              <a:gd name="T63" fmla="*/ 57 h 80"/>
              <a:gd name="T64" fmla="*/ 2 w 187"/>
              <a:gd name="T65" fmla="*/ 53 h 80"/>
              <a:gd name="T66" fmla="*/ 0 w 187"/>
              <a:gd name="T67" fmla="*/ 50 h 80"/>
              <a:gd name="T68" fmla="*/ 2 w 187"/>
              <a:gd name="T69" fmla="*/ 44 h 80"/>
              <a:gd name="T70" fmla="*/ 3 w 187"/>
              <a:gd name="T71" fmla="*/ 40 h 80"/>
              <a:gd name="T72" fmla="*/ 5 w 187"/>
              <a:gd name="T73" fmla="*/ 36 h 80"/>
              <a:gd name="T74" fmla="*/ 7 w 187"/>
              <a:gd name="T75" fmla="*/ 31 h 80"/>
              <a:gd name="T76" fmla="*/ 13 w 187"/>
              <a:gd name="T77" fmla="*/ 24 h 80"/>
              <a:gd name="T78" fmla="*/ 14 w 187"/>
              <a:gd name="T79" fmla="*/ 19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44" name="Freeform 496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>
              <a:gd name="T0" fmla="*/ 50 w 183"/>
              <a:gd name="T1" fmla="*/ 0 h 73"/>
              <a:gd name="T2" fmla="*/ 63 w 183"/>
              <a:gd name="T3" fmla="*/ 0 h 73"/>
              <a:gd name="T4" fmla="*/ 75 w 183"/>
              <a:gd name="T5" fmla="*/ 1 h 73"/>
              <a:gd name="T6" fmla="*/ 86 w 183"/>
              <a:gd name="T7" fmla="*/ 4 h 73"/>
              <a:gd name="T8" fmla="*/ 97 w 183"/>
              <a:gd name="T9" fmla="*/ 7 h 73"/>
              <a:gd name="T10" fmla="*/ 106 w 183"/>
              <a:gd name="T11" fmla="*/ 10 h 73"/>
              <a:gd name="T12" fmla="*/ 116 w 183"/>
              <a:gd name="T13" fmla="*/ 15 h 73"/>
              <a:gd name="T14" fmla="*/ 124 w 183"/>
              <a:gd name="T15" fmla="*/ 19 h 73"/>
              <a:gd name="T16" fmla="*/ 131 w 183"/>
              <a:gd name="T17" fmla="*/ 25 h 73"/>
              <a:gd name="T18" fmla="*/ 159 w 183"/>
              <a:gd name="T19" fmla="*/ 49 h 73"/>
              <a:gd name="T20" fmla="*/ 183 w 183"/>
              <a:gd name="T21" fmla="*/ 73 h 73"/>
              <a:gd name="T22" fmla="*/ 137 w 183"/>
              <a:gd name="T23" fmla="*/ 73 h 73"/>
              <a:gd name="T24" fmla="*/ 128 w 183"/>
              <a:gd name="T25" fmla="*/ 72 h 73"/>
              <a:gd name="T26" fmla="*/ 117 w 183"/>
              <a:gd name="T27" fmla="*/ 70 h 73"/>
              <a:gd name="T28" fmla="*/ 104 w 183"/>
              <a:gd name="T29" fmla="*/ 66 h 73"/>
              <a:gd name="T30" fmla="*/ 90 w 183"/>
              <a:gd name="T31" fmla="*/ 62 h 73"/>
              <a:gd name="T32" fmla="*/ 73 w 183"/>
              <a:gd name="T33" fmla="*/ 56 h 73"/>
              <a:gd name="T34" fmla="*/ 58 w 183"/>
              <a:gd name="T35" fmla="*/ 50 h 73"/>
              <a:gd name="T36" fmla="*/ 42 w 183"/>
              <a:gd name="T37" fmla="*/ 44 h 73"/>
              <a:gd name="T38" fmla="*/ 28 w 183"/>
              <a:gd name="T39" fmla="*/ 37 h 73"/>
              <a:gd name="T40" fmla="*/ 16 w 183"/>
              <a:gd name="T41" fmla="*/ 30 h 73"/>
              <a:gd name="T42" fmla="*/ 7 w 183"/>
              <a:gd name="T43" fmla="*/ 23 h 73"/>
              <a:gd name="T44" fmla="*/ 4 w 183"/>
              <a:gd name="T45" fmla="*/ 19 h 73"/>
              <a:gd name="T46" fmla="*/ 2 w 183"/>
              <a:gd name="T47" fmla="*/ 16 h 73"/>
              <a:gd name="T48" fmla="*/ 1 w 183"/>
              <a:gd name="T49" fmla="*/ 14 h 73"/>
              <a:gd name="T50" fmla="*/ 0 w 183"/>
              <a:gd name="T51" fmla="*/ 11 h 73"/>
              <a:gd name="T52" fmla="*/ 1 w 183"/>
              <a:gd name="T53" fmla="*/ 8 h 73"/>
              <a:gd name="T54" fmla="*/ 3 w 183"/>
              <a:gd name="T55" fmla="*/ 6 h 73"/>
              <a:gd name="T56" fmla="*/ 7 w 183"/>
              <a:gd name="T57" fmla="*/ 4 h 73"/>
              <a:gd name="T58" fmla="*/ 13 w 183"/>
              <a:gd name="T59" fmla="*/ 3 h 73"/>
              <a:gd name="T60" fmla="*/ 19 w 183"/>
              <a:gd name="T61" fmla="*/ 1 h 73"/>
              <a:gd name="T62" fmla="*/ 28 w 183"/>
              <a:gd name="T63" fmla="*/ 0 h 73"/>
              <a:gd name="T64" fmla="*/ 38 w 183"/>
              <a:gd name="T65" fmla="*/ 0 h 73"/>
              <a:gd name="T66" fmla="*/ 50 w 183"/>
              <a:gd name="T6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45" name="Freeform 497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>
              <a:gd name="T0" fmla="*/ 0 w 79"/>
              <a:gd name="T1" fmla="*/ 6 h 42"/>
              <a:gd name="T2" fmla="*/ 23 w 79"/>
              <a:gd name="T3" fmla="*/ 2 h 42"/>
              <a:gd name="T4" fmla="*/ 41 w 79"/>
              <a:gd name="T5" fmla="*/ 1 h 42"/>
              <a:gd name="T6" fmla="*/ 60 w 79"/>
              <a:gd name="T7" fmla="*/ 0 h 42"/>
              <a:gd name="T8" fmla="*/ 79 w 79"/>
              <a:gd name="T9" fmla="*/ 0 h 42"/>
              <a:gd name="T10" fmla="*/ 79 w 79"/>
              <a:gd name="T11" fmla="*/ 9 h 42"/>
              <a:gd name="T12" fmla="*/ 79 w 79"/>
              <a:gd name="T13" fmla="*/ 18 h 42"/>
              <a:gd name="T14" fmla="*/ 79 w 79"/>
              <a:gd name="T15" fmla="*/ 22 h 42"/>
              <a:gd name="T16" fmla="*/ 75 w 79"/>
              <a:gd name="T17" fmla="*/ 27 h 42"/>
              <a:gd name="T18" fmla="*/ 72 w 79"/>
              <a:gd name="T19" fmla="*/ 31 h 42"/>
              <a:gd name="T20" fmla="*/ 68 w 79"/>
              <a:gd name="T21" fmla="*/ 35 h 42"/>
              <a:gd name="T22" fmla="*/ 62 w 79"/>
              <a:gd name="T23" fmla="*/ 38 h 42"/>
              <a:gd name="T24" fmla="*/ 57 w 79"/>
              <a:gd name="T25" fmla="*/ 40 h 42"/>
              <a:gd name="T26" fmla="*/ 51 w 79"/>
              <a:gd name="T27" fmla="*/ 42 h 42"/>
              <a:gd name="T28" fmla="*/ 46 w 79"/>
              <a:gd name="T29" fmla="*/ 42 h 42"/>
              <a:gd name="T30" fmla="*/ 40 w 79"/>
              <a:gd name="T31" fmla="*/ 42 h 42"/>
              <a:gd name="T32" fmla="*/ 35 w 79"/>
              <a:gd name="T33" fmla="*/ 41 h 42"/>
              <a:gd name="T34" fmla="*/ 29 w 79"/>
              <a:gd name="T35" fmla="*/ 39 h 42"/>
              <a:gd name="T36" fmla="*/ 25 w 79"/>
              <a:gd name="T37" fmla="*/ 37 h 42"/>
              <a:gd name="T38" fmla="*/ 16 w 79"/>
              <a:gd name="T39" fmla="*/ 32 h 42"/>
              <a:gd name="T40" fmla="*/ 11 w 79"/>
              <a:gd name="T41" fmla="*/ 26 h 42"/>
              <a:gd name="T42" fmla="*/ 5 w 79"/>
              <a:gd name="T43" fmla="*/ 20 h 42"/>
              <a:gd name="T44" fmla="*/ 2 w 79"/>
              <a:gd name="T45" fmla="*/ 14 h 42"/>
              <a:gd name="T46" fmla="*/ 0 w 79"/>
              <a:gd name="T47" fmla="*/ 9 h 42"/>
              <a:gd name="T48" fmla="*/ 0 w 79"/>
              <a:gd name="T49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46" name="Freeform 498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>
              <a:gd name="T0" fmla="*/ 113 w 113"/>
              <a:gd name="T1" fmla="*/ 39 h 52"/>
              <a:gd name="T2" fmla="*/ 112 w 113"/>
              <a:gd name="T3" fmla="*/ 42 h 52"/>
              <a:gd name="T4" fmla="*/ 109 w 113"/>
              <a:gd name="T5" fmla="*/ 45 h 52"/>
              <a:gd name="T6" fmla="*/ 106 w 113"/>
              <a:gd name="T7" fmla="*/ 47 h 52"/>
              <a:gd name="T8" fmla="*/ 103 w 113"/>
              <a:gd name="T9" fmla="*/ 49 h 52"/>
              <a:gd name="T10" fmla="*/ 94 w 113"/>
              <a:gd name="T11" fmla="*/ 51 h 52"/>
              <a:gd name="T12" fmla="*/ 85 w 113"/>
              <a:gd name="T13" fmla="*/ 52 h 52"/>
              <a:gd name="T14" fmla="*/ 66 w 113"/>
              <a:gd name="T15" fmla="*/ 52 h 52"/>
              <a:gd name="T16" fmla="*/ 53 w 113"/>
              <a:gd name="T17" fmla="*/ 51 h 52"/>
              <a:gd name="T18" fmla="*/ 47 w 113"/>
              <a:gd name="T19" fmla="*/ 51 h 52"/>
              <a:gd name="T20" fmla="*/ 39 w 113"/>
              <a:gd name="T21" fmla="*/ 48 h 52"/>
              <a:gd name="T22" fmla="*/ 30 w 113"/>
              <a:gd name="T23" fmla="*/ 45 h 52"/>
              <a:gd name="T24" fmla="*/ 21 w 113"/>
              <a:gd name="T25" fmla="*/ 41 h 52"/>
              <a:gd name="T26" fmla="*/ 13 w 113"/>
              <a:gd name="T27" fmla="*/ 36 h 52"/>
              <a:gd name="T28" fmla="*/ 6 w 113"/>
              <a:gd name="T29" fmla="*/ 31 h 52"/>
              <a:gd name="T30" fmla="*/ 4 w 113"/>
              <a:gd name="T31" fmla="*/ 28 h 52"/>
              <a:gd name="T32" fmla="*/ 2 w 113"/>
              <a:gd name="T33" fmla="*/ 25 h 52"/>
              <a:gd name="T34" fmla="*/ 1 w 113"/>
              <a:gd name="T35" fmla="*/ 22 h 52"/>
              <a:gd name="T36" fmla="*/ 0 w 113"/>
              <a:gd name="T37" fmla="*/ 20 h 52"/>
              <a:gd name="T38" fmla="*/ 1 w 113"/>
              <a:gd name="T39" fmla="*/ 15 h 52"/>
              <a:gd name="T40" fmla="*/ 1 w 113"/>
              <a:gd name="T41" fmla="*/ 11 h 52"/>
              <a:gd name="T42" fmla="*/ 3 w 113"/>
              <a:gd name="T43" fmla="*/ 8 h 52"/>
              <a:gd name="T44" fmla="*/ 5 w 113"/>
              <a:gd name="T45" fmla="*/ 5 h 52"/>
              <a:gd name="T46" fmla="*/ 7 w 113"/>
              <a:gd name="T47" fmla="*/ 3 h 52"/>
              <a:gd name="T48" fmla="*/ 10 w 113"/>
              <a:gd name="T49" fmla="*/ 2 h 52"/>
              <a:gd name="T50" fmla="*/ 14 w 113"/>
              <a:gd name="T51" fmla="*/ 1 h 52"/>
              <a:gd name="T52" fmla="*/ 17 w 113"/>
              <a:gd name="T53" fmla="*/ 0 h 52"/>
              <a:gd name="T54" fmla="*/ 26 w 113"/>
              <a:gd name="T55" fmla="*/ 0 h 52"/>
              <a:gd name="T56" fmla="*/ 36 w 113"/>
              <a:gd name="T57" fmla="*/ 2 h 52"/>
              <a:gd name="T58" fmla="*/ 46 w 113"/>
              <a:gd name="T59" fmla="*/ 5 h 52"/>
              <a:gd name="T60" fmla="*/ 57 w 113"/>
              <a:gd name="T61" fmla="*/ 9 h 52"/>
              <a:gd name="T62" fmla="*/ 77 w 113"/>
              <a:gd name="T63" fmla="*/ 18 h 52"/>
              <a:gd name="T64" fmla="*/ 95 w 113"/>
              <a:gd name="T65" fmla="*/ 29 h 52"/>
              <a:gd name="T66" fmla="*/ 108 w 113"/>
              <a:gd name="T67" fmla="*/ 36 h 52"/>
              <a:gd name="T68" fmla="*/ 113 w 113"/>
              <a:gd name="T69" fmla="*/ 39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47" name="Freeform 499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>
              <a:gd name="T0" fmla="*/ 0 w 139"/>
              <a:gd name="T1" fmla="*/ 8 h 40"/>
              <a:gd name="T2" fmla="*/ 8 w 139"/>
              <a:gd name="T3" fmla="*/ 9 h 40"/>
              <a:gd name="T4" fmla="*/ 19 w 139"/>
              <a:gd name="T5" fmla="*/ 8 h 40"/>
              <a:gd name="T6" fmla="*/ 30 w 139"/>
              <a:gd name="T7" fmla="*/ 7 h 40"/>
              <a:gd name="T8" fmla="*/ 42 w 139"/>
              <a:gd name="T9" fmla="*/ 5 h 40"/>
              <a:gd name="T10" fmla="*/ 53 w 139"/>
              <a:gd name="T11" fmla="*/ 2 h 40"/>
              <a:gd name="T12" fmla="*/ 64 w 139"/>
              <a:gd name="T13" fmla="*/ 1 h 40"/>
              <a:gd name="T14" fmla="*/ 73 w 139"/>
              <a:gd name="T15" fmla="*/ 0 h 40"/>
              <a:gd name="T16" fmla="*/ 80 w 139"/>
              <a:gd name="T17" fmla="*/ 2 h 40"/>
              <a:gd name="T18" fmla="*/ 139 w 139"/>
              <a:gd name="T19" fmla="*/ 39 h 40"/>
              <a:gd name="T20" fmla="*/ 133 w 139"/>
              <a:gd name="T21" fmla="*/ 40 h 40"/>
              <a:gd name="T22" fmla="*/ 125 w 139"/>
              <a:gd name="T23" fmla="*/ 39 h 40"/>
              <a:gd name="T24" fmla="*/ 116 w 139"/>
              <a:gd name="T25" fmla="*/ 38 h 40"/>
              <a:gd name="T26" fmla="*/ 106 w 139"/>
              <a:gd name="T27" fmla="*/ 36 h 40"/>
              <a:gd name="T28" fmla="*/ 86 w 139"/>
              <a:gd name="T29" fmla="*/ 30 h 40"/>
              <a:gd name="T30" fmla="*/ 64 w 139"/>
              <a:gd name="T31" fmla="*/ 24 h 40"/>
              <a:gd name="T32" fmla="*/ 44 w 139"/>
              <a:gd name="T33" fmla="*/ 16 h 40"/>
              <a:gd name="T34" fmla="*/ 26 w 139"/>
              <a:gd name="T35" fmla="*/ 11 h 40"/>
              <a:gd name="T36" fmla="*/ 17 w 139"/>
              <a:gd name="T37" fmla="*/ 9 h 40"/>
              <a:gd name="T38" fmla="*/ 11 w 139"/>
              <a:gd name="T39" fmla="*/ 7 h 40"/>
              <a:gd name="T40" fmla="*/ 4 w 139"/>
              <a:gd name="T41" fmla="*/ 7 h 40"/>
              <a:gd name="T42" fmla="*/ 0 w 139"/>
              <a:gd name="T43" fmla="*/ 8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48" name="Freeform 500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>
              <a:gd name="T0" fmla="*/ 10 w 325"/>
              <a:gd name="T1" fmla="*/ 7 h 71"/>
              <a:gd name="T2" fmla="*/ 31 w 325"/>
              <a:gd name="T3" fmla="*/ 1 h 71"/>
              <a:gd name="T4" fmla="*/ 53 w 325"/>
              <a:gd name="T5" fmla="*/ 0 h 71"/>
              <a:gd name="T6" fmla="*/ 73 w 325"/>
              <a:gd name="T7" fmla="*/ 4 h 71"/>
              <a:gd name="T8" fmla="*/ 92 w 325"/>
              <a:gd name="T9" fmla="*/ 10 h 71"/>
              <a:gd name="T10" fmla="*/ 110 w 325"/>
              <a:gd name="T11" fmla="*/ 18 h 71"/>
              <a:gd name="T12" fmla="*/ 122 w 325"/>
              <a:gd name="T13" fmla="*/ 29 h 71"/>
              <a:gd name="T14" fmla="*/ 130 w 325"/>
              <a:gd name="T15" fmla="*/ 38 h 71"/>
              <a:gd name="T16" fmla="*/ 136 w 325"/>
              <a:gd name="T17" fmla="*/ 34 h 71"/>
              <a:gd name="T18" fmla="*/ 139 w 325"/>
              <a:gd name="T19" fmla="*/ 15 h 71"/>
              <a:gd name="T20" fmla="*/ 161 w 325"/>
              <a:gd name="T21" fmla="*/ 7 h 71"/>
              <a:gd name="T22" fmla="*/ 216 w 325"/>
              <a:gd name="T23" fmla="*/ 13 h 71"/>
              <a:gd name="T24" fmla="*/ 258 w 325"/>
              <a:gd name="T25" fmla="*/ 23 h 71"/>
              <a:gd name="T26" fmla="*/ 283 w 325"/>
              <a:gd name="T27" fmla="*/ 32 h 71"/>
              <a:gd name="T28" fmla="*/ 305 w 325"/>
              <a:gd name="T29" fmla="*/ 43 h 71"/>
              <a:gd name="T30" fmla="*/ 320 w 325"/>
              <a:gd name="T31" fmla="*/ 55 h 71"/>
              <a:gd name="T32" fmla="*/ 316 w 325"/>
              <a:gd name="T33" fmla="*/ 64 h 71"/>
              <a:gd name="T34" fmla="*/ 294 w 325"/>
              <a:gd name="T35" fmla="*/ 68 h 71"/>
              <a:gd name="T36" fmla="*/ 259 w 325"/>
              <a:gd name="T37" fmla="*/ 71 h 71"/>
              <a:gd name="T38" fmla="*/ 210 w 325"/>
              <a:gd name="T39" fmla="*/ 70 h 71"/>
              <a:gd name="T40" fmla="*/ 167 w 325"/>
              <a:gd name="T41" fmla="*/ 68 h 71"/>
              <a:gd name="T42" fmla="*/ 133 w 325"/>
              <a:gd name="T43" fmla="*/ 69 h 71"/>
              <a:gd name="T44" fmla="*/ 90 w 325"/>
              <a:gd name="T45" fmla="*/ 71 h 71"/>
              <a:gd name="T46" fmla="*/ 72 w 325"/>
              <a:gd name="T47" fmla="*/ 68 h 71"/>
              <a:gd name="T48" fmla="*/ 67 w 325"/>
              <a:gd name="T49" fmla="*/ 64 h 71"/>
              <a:gd name="T50" fmla="*/ 58 w 325"/>
              <a:gd name="T51" fmla="*/ 61 h 71"/>
              <a:gd name="T52" fmla="*/ 46 w 325"/>
              <a:gd name="T53" fmla="*/ 59 h 71"/>
              <a:gd name="T54" fmla="*/ 35 w 325"/>
              <a:gd name="T55" fmla="*/ 53 h 71"/>
              <a:gd name="T56" fmla="*/ 25 w 325"/>
              <a:gd name="T57" fmla="*/ 45 h 71"/>
              <a:gd name="T58" fmla="*/ 16 w 325"/>
              <a:gd name="T59" fmla="*/ 39 h 71"/>
              <a:gd name="T60" fmla="*/ 6 w 325"/>
              <a:gd name="T61" fmla="*/ 37 h 71"/>
              <a:gd name="T62" fmla="*/ 0 w 325"/>
              <a:gd name="T63" fmla="*/ 22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49" name="Freeform 501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>
              <a:gd name="T0" fmla="*/ 87 w 220"/>
              <a:gd name="T1" fmla="*/ 25 h 72"/>
              <a:gd name="T2" fmla="*/ 92 w 220"/>
              <a:gd name="T3" fmla="*/ 26 h 72"/>
              <a:gd name="T4" fmla="*/ 98 w 220"/>
              <a:gd name="T5" fmla="*/ 27 h 72"/>
              <a:gd name="T6" fmla="*/ 101 w 220"/>
              <a:gd name="T7" fmla="*/ 28 h 72"/>
              <a:gd name="T8" fmla="*/ 104 w 220"/>
              <a:gd name="T9" fmla="*/ 27 h 72"/>
              <a:gd name="T10" fmla="*/ 109 w 220"/>
              <a:gd name="T11" fmla="*/ 27 h 72"/>
              <a:gd name="T12" fmla="*/ 113 w 220"/>
              <a:gd name="T13" fmla="*/ 25 h 72"/>
              <a:gd name="T14" fmla="*/ 114 w 220"/>
              <a:gd name="T15" fmla="*/ 26 h 72"/>
              <a:gd name="T16" fmla="*/ 115 w 220"/>
              <a:gd name="T17" fmla="*/ 26 h 72"/>
              <a:gd name="T18" fmla="*/ 116 w 220"/>
              <a:gd name="T19" fmla="*/ 25 h 72"/>
              <a:gd name="T20" fmla="*/ 117 w 220"/>
              <a:gd name="T21" fmla="*/ 25 h 72"/>
              <a:gd name="T22" fmla="*/ 119 w 220"/>
              <a:gd name="T23" fmla="*/ 22 h 72"/>
              <a:gd name="T24" fmla="*/ 120 w 220"/>
              <a:gd name="T25" fmla="*/ 17 h 72"/>
              <a:gd name="T26" fmla="*/ 120 w 220"/>
              <a:gd name="T27" fmla="*/ 7 h 72"/>
              <a:gd name="T28" fmla="*/ 120 w 220"/>
              <a:gd name="T29" fmla="*/ 0 h 72"/>
              <a:gd name="T30" fmla="*/ 125 w 220"/>
              <a:gd name="T31" fmla="*/ 5 h 72"/>
              <a:gd name="T32" fmla="*/ 131 w 220"/>
              <a:gd name="T33" fmla="*/ 10 h 72"/>
              <a:gd name="T34" fmla="*/ 137 w 220"/>
              <a:gd name="T35" fmla="*/ 15 h 72"/>
              <a:gd name="T36" fmla="*/ 143 w 220"/>
              <a:gd name="T37" fmla="*/ 19 h 72"/>
              <a:gd name="T38" fmla="*/ 156 w 220"/>
              <a:gd name="T39" fmla="*/ 25 h 72"/>
              <a:gd name="T40" fmla="*/ 170 w 220"/>
              <a:gd name="T41" fmla="*/ 30 h 72"/>
              <a:gd name="T42" fmla="*/ 183 w 220"/>
              <a:gd name="T43" fmla="*/ 35 h 72"/>
              <a:gd name="T44" fmla="*/ 196 w 220"/>
              <a:gd name="T45" fmla="*/ 41 h 72"/>
              <a:gd name="T46" fmla="*/ 203 w 220"/>
              <a:gd name="T47" fmla="*/ 44 h 72"/>
              <a:gd name="T48" fmla="*/ 209 w 220"/>
              <a:gd name="T49" fmla="*/ 47 h 72"/>
              <a:gd name="T50" fmla="*/ 214 w 220"/>
              <a:gd name="T51" fmla="*/ 51 h 72"/>
              <a:gd name="T52" fmla="*/ 220 w 220"/>
              <a:gd name="T53" fmla="*/ 55 h 72"/>
              <a:gd name="T54" fmla="*/ 206 w 220"/>
              <a:gd name="T55" fmla="*/ 56 h 72"/>
              <a:gd name="T56" fmla="*/ 194 w 220"/>
              <a:gd name="T57" fmla="*/ 57 h 72"/>
              <a:gd name="T58" fmla="*/ 182 w 220"/>
              <a:gd name="T59" fmla="*/ 58 h 72"/>
              <a:gd name="T60" fmla="*/ 171 w 220"/>
              <a:gd name="T61" fmla="*/ 60 h 72"/>
              <a:gd name="T62" fmla="*/ 151 w 220"/>
              <a:gd name="T63" fmla="*/ 65 h 72"/>
              <a:gd name="T64" fmla="*/ 134 w 220"/>
              <a:gd name="T65" fmla="*/ 70 h 72"/>
              <a:gd name="T66" fmla="*/ 126 w 220"/>
              <a:gd name="T67" fmla="*/ 71 h 72"/>
              <a:gd name="T68" fmla="*/ 117 w 220"/>
              <a:gd name="T69" fmla="*/ 72 h 72"/>
              <a:gd name="T70" fmla="*/ 110 w 220"/>
              <a:gd name="T71" fmla="*/ 72 h 72"/>
              <a:gd name="T72" fmla="*/ 103 w 220"/>
              <a:gd name="T73" fmla="*/ 72 h 72"/>
              <a:gd name="T74" fmla="*/ 95 w 220"/>
              <a:gd name="T75" fmla="*/ 70 h 72"/>
              <a:gd name="T76" fmla="*/ 88 w 220"/>
              <a:gd name="T77" fmla="*/ 66 h 72"/>
              <a:gd name="T78" fmla="*/ 81 w 220"/>
              <a:gd name="T79" fmla="*/ 61 h 72"/>
              <a:gd name="T80" fmla="*/ 74 w 220"/>
              <a:gd name="T81" fmla="*/ 55 h 72"/>
              <a:gd name="T82" fmla="*/ 59 w 220"/>
              <a:gd name="T83" fmla="*/ 53 h 72"/>
              <a:gd name="T84" fmla="*/ 45 w 220"/>
              <a:gd name="T85" fmla="*/ 50 h 72"/>
              <a:gd name="T86" fmla="*/ 33 w 220"/>
              <a:gd name="T87" fmla="*/ 47 h 72"/>
              <a:gd name="T88" fmla="*/ 22 w 220"/>
              <a:gd name="T89" fmla="*/ 43 h 72"/>
              <a:gd name="T90" fmla="*/ 18 w 220"/>
              <a:gd name="T91" fmla="*/ 41 h 72"/>
              <a:gd name="T92" fmla="*/ 13 w 220"/>
              <a:gd name="T93" fmla="*/ 38 h 72"/>
              <a:gd name="T94" fmla="*/ 9 w 220"/>
              <a:gd name="T95" fmla="*/ 35 h 72"/>
              <a:gd name="T96" fmla="*/ 7 w 220"/>
              <a:gd name="T97" fmla="*/ 31 h 72"/>
              <a:gd name="T98" fmla="*/ 3 w 220"/>
              <a:gd name="T99" fmla="*/ 27 h 72"/>
              <a:gd name="T100" fmla="*/ 2 w 220"/>
              <a:gd name="T101" fmla="*/ 23 h 72"/>
              <a:gd name="T102" fmla="*/ 1 w 220"/>
              <a:gd name="T103" fmla="*/ 18 h 72"/>
              <a:gd name="T104" fmla="*/ 0 w 220"/>
              <a:gd name="T105" fmla="*/ 13 h 72"/>
              <a:gd name="T106" fmla="*/ 23 w 220"/>
              <a:gd name="T107" fmla="*/ 17 h 72"/>
              <a:gd name="T108" fmla="*/ 44 w 220"/>
              <a:gd name="T109" fmla="*/ 21 h 72"/>
              <a:gd name="T110" fmla="*/ 64 w 220"/>
              <a:gd name="T111" fmla="*/ 24 h 72"/>
              <a:gd name="T112" fmla="*/ 87 w 220"/>
              <a:gd name="T113" fmla="*/ 25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50" name="Freeform 502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>
              <a:gd name="T0" fmla="*/ 146 w 146"/>
              <a:gd name="T1" fmla="*/ 25 h 30"/>
              <a:gd name="T2" fmla="*/ 140 w 146"/>
              <a:gd name="T3" fmla="*/ 16 h 30"/>
              <a:gd name="T4" fmla="*/ 137 w 146"/>
              <a:gd name="T5" fmla="*/ 9 h 30"/>
              <a:gd name="T6" fmla="*/ 133 w 146"/>
              <a:gd name="T7" fmla="*/ 4 h 30"/>
              <a:gd name="T8" fmla="*/ 128 w 146"/>
              <a:gd name="T9" fmla="*/ 1 h 30"/>
              <a:gd name="T10" fmla="*/ 126 w 146"/>
              <a:gd name="T11" fmla="*/ 1 h 30"/>
              <a:gd name="T12" fmla="*/ 124 w 146"/>
              <a:gd name="T13" fmla="*/ 1 h 30"/>
              <a:gd name="T14" fmla="*/ 120 w 146"/>
              <a:gd name="T15" fmla="*/ 2 h 30"/>
              <a:gd name="T16" fmla="*/ 118 w 146"/>
              <a:gd name="T17" fmla="*/ 3 h 30"/>
              <a:gd name="T18" fmla="*/ 113 w 146"/>
              <a:gd name="T19" fmla="*/ 9 h 30"/>
              <a:gd name="T20" fmla="*/ 105 w 146"/>
              <a:gd name="T21" fmla="*/ 19 h 30"/>
              <a:gd name="T22" fmla="*/ 72 w 146"/>
              <a:gd name="T23" fmla="*/ 19 h 30"/>
              <a:gd name="T24" fmla="*/ 63 w 146"/>
              <a:gd name="T25" fmla="*/ 18 h 30"/>
              <a:gd name="T26" fmla="*/ 55 w 146"/>
              <a:gd name="T27" fmla="*/ 17 h 30"/>
              <a:gd name="T28" fmla="*/ 47 w 146"/>
              <a:gd name="T29" fmla="*/ 14 h 30"/>
              <a:gd name="T30" fmla="*/ 40 w 146"/>
              <a:gd name="T31" fmla="*/ 12 h 30"/>
              <a:gd name="T32" fmla="*/ 29 w 146"/>
              <a:gd name="T33" fmla="*/ 6 h 30"/>
              <a:gd name="T34" fmla="*/ 19 w 146"/>
              <a:gd name="T35" fmla="*/ 0 h 30"/>
              <a:gd name="T36" fmla="*/ 14 w 146"/>
              <a:gd name="T37" fmla="*/ 9 h 30"/>
              <a:gd name="T38" fmla="*/ 10 w 146"/>
              <a:gd name="T39" fmla="*/ 15 h 30"/>
              <a:gd name="T40" fmla="*/ 4 w 146"/>
              <a:gd name="T41" fmla="*/ 20 h 30"/>
              <a:gd name="T42" fmla="*/ 0 w 146"/>
              <a:gd name="T43" fmla="*/ 25 h 30"/>
              <a:gd name="T44" fmla="*/ 33 w 146"/>
              <a:gd name="T45" fmla="*/ 25 h 30"/>
              <a:gd name="T46" fmla="*/ 57 w 146"/>
              <a:gd name="T47" fmla="*/ 25 h 30"/>
              <a:gd name="T48" fmla="*/ 77 w 146"/>
              <a:gd name="T49" fmla="*/ 25 h 30"/>
              <a:gd name="T50" fmla="*/ 99 w 146"/>
              <a:gd name="T51" fmla="*/ 25 h 30"/>
              <a:gd name="T52" fmla="*/ 110 w 146"/>
              <a:gd name="T53" fmla="*/ 26 h 30"/>
              <a:gd name="T54" fmla="*/ 123 w 146"/>
              <a:gd name="T55" fmla="*/ 29 h 30"/>
              <a:gd name="T56" fmla="*/ 128 w 146"/>
              <a:gd name="T57" fmla="*/ 30 h 30"/>
              <a:gd name="T58" fmla="*/ 135 w 146"/>
              <a:gd name="T59" fmla="*/ 30 h 30"/>
              <a:gd name="T60" fmla="*/ 140 w 146"/>
              <a:gd name="T61" fmla="*/ 28 h 30"/>
              <a:gd name="T62" fmla="*/ 146 w 146"/>
              <a:gd name="T63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51" name="Freeform 503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>
              <a:gd name="T0" fmla="*/ 0 w 53"/>
              <a:gd name="T1" fmla="*/ 9 h 9"/>
              <a:gd name="T2" fmla="*/ 17 w 53"/>
              <a:gd name="T3" fmla="*/ 9 h 9"/>
              <a:gd name="T4" fmla="*/ 29 w 53"/>
              <a:gd name="T5" fmla="*/ 9 h 9"/>
              <a:gd name="T6" fmla="*/ 40 w 53"/>
              <a:gd name="T7" fmla="*/ 9 h 9"/>
              <a:gd name="T8" fmla="*/ 53 w 53"/>
              <a:gd name="T9" fmla="*/ 9 h 9"/>
              <a:gd name="T10" fmla="*/ 46 w 53"/>
              <a:gd name="T11" fmla="*/ 6 h 9"/>
              <a:gd name="T12" fmla="*/ 38 w 53"/>
              <a:gd name="T13" fmla="*/ 3 h 9"/>
              <a:gd name="T14" fmla="*/ 31 w 53"/>
              <a:gd name="T15" fmla="*/ 1 h 9"/>
              <a:gd name="T16" fmla="*/ 25 w 53"/>
              <a:gd name="T17" fmla="*/ 0 h 9"/>
              <a:gd name="T18" fmla="*/ 19 w 53"/>
              <a:gd name="T19" fmla="*/ 0 h 9"/>
              <a:gd name="T20" fmla="*/ 14 w 53"/>
              <a:gd name="T21" fmla="*/ 0 h 9"/>
              <a:gd name="T22" fmla="*/ 9 w 53"/>
              <a:gd name="T23" fmla="*/ 1 h 9"/>
              <a:gd name="T24" fmla="*/ 6 w 53"/>
              <a:gd name="T25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52" name="Line 504"/>
          <p:cNvSpPr>
            <a:spLocks noChangeShapeType="1"/>
          </p:cNvSpPr>
          <p:nvPr>
            <p:custDataLst>
              <p:tags r:id="rId337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53" name="Freeform 505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>
              <a:gd name="T0" fmla="*/ 0 w 26"/>
              <a:gd name="T1" fmla="*/ 25 h 25"/>
              <a:gd name="T2" fmla="*/ 5 w 26"/>
              <a:gd name="T3" fmla="*/ 17 h 25"/>
              <a:gd name="T4" fmla="*/ 13 w 26"/>
              <a:gd name="T5" fmla="*/ 8 h 25"/>
              <a:gd name="T6" fmla="*/ 16 w 26"/>
              <a:gd name="T7" fmla="*/ 5 h 25"/>
              <a:gd name="T8" fmla="*/ 20 w 26"/>
              <a:gd name="T9" fmla="*/ 2 h 25"/>
              <a:gd name="T10" fmla="*/ 23 w 26"/>
              <a:gd name="T11" fmla="*/ 1 h 25"/>
              <a:gd name="T12" fmla="*/ 26 w 26"/>
              <a:gd name="T13" fmla="*/ 0 h 25"/>
              <a:gd name="T14" fmla="*/ 26 w 26"/>
              <a:gd name="T15" fmla="*/ 25 h 25"/>
              <a:gd name="T16" fmla="*/ 20 w 26"/>
              <a:gd name="T17" fmla="*/ 25 h 25"/>
              <a:gd name="T18" fmla="*/ 13 w 26"/>
              <a:gd name="T19" fmla="*/ 25 h 25"/>
              <a:gd name="T20" fmla="*/ 0 w 26"/>
              <a:gd name="T21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54" name="Freeform 506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>
              <a:gd name="T0" fmla="*/ 33 w 33"/>
              <a:gd name="T1" fmla="*/ 25 h 25"/>
              <a:gd name="T2" fmla="*/ 33 w 33"/>
              <a:gd name="T3" fmla="*/ 12 h 25"/>
              <a:gd name="T4" fmla="*/ 33 w 33"/>
              <a:gd name="T5" fmla="*/ 0 h 25"/>
              <a:gd name="T6" fmla="*/ 0 w 33"/>
              <a:gd name="T7" fmla="*/ 0 h 25"/>
              <a:gd name="T8" fmla="*/ 9 w 33"/>
              <a:gd name="T9" fmla="*/ 9 h 25"/>
              <a:gd name="T10" fmla="*/ 16 w 33"/>
              <a:gd name="T11" fmla="*/ 17 h 25"/>
              <a:gd name="T12" fmla="*/ 20 w 33"/>
              <a:gd name="T13" fmla="*/ 20 h 25"/>
              <a:gd name="T14" fmla="*/ 24 w 33"/>
              <a:gd name="T15" fmla="*/ 23 h 25"/>
              <a:gd name="T16" fmla="*/ 28 w 33"/>
              <a:gd name="T17" fmla="*/ 24 h 25"/>
              <a:gd name="T18" fmla="*/ 33 w 33"/>
              <a:gd name="T19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55" name="Freeform 507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13 w 20"/>
              <a:gd name="T3" fmla="*/ 18 h 18"/>
              <a:gd name="T4" fmla="*/ 16 w 20"/>
              <a:gd name="T5" fmla="*/ 11 h 18"/>
              <a:gd name="T6" fmla="*/ 20 w 20"/>
              <a:gd name="T7" fmla="*/ 0 h 18"/>
              <a:gd name="T8" fmla="*/ 0 w 20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56" name="Freeform 508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>
              <a:gd name="T0" fmla="*/ 0 w 33"/>
              <a:gd name="T1" fmla="*/ 31 h 31"/>
              <a:gd name="T2" fmla="*/ 0 w 33"/>
              <a:gd name="T3" fmla="*/ 0 h 31"/>
              <a:gd name="T4" fmla="*/ 9 w 33"/>
              <a:gd name="T5" fmla="*/ 0 h 31"/>
              <a:gd name="T6" fmla="*/ 16 w 33"/>
              <a:gd name="T7" fmla="*/ 0 h 31"/>
              <a:gd name="T8" fmla="*/ 24 w 33"/>
              <a:gd name="T9" fmla="*/ 0 h 31"/>
              <a:gd name="T10" fmla="*/ 33 w 33"/>
              <a:gd name="T11" fmla="*/ 0 h 31"/>
              <a:gd name="T12" fmla="*/ 30 w 33"/>
              <a:gd name="T13" fmla="*/ 2 h 31"/>
              <a:gd name="T14" fmla="*/ 29 w 33"/>
              <a:gd name="T15" fmla="*/ 5 h 31"/>
              <a:gd name="T16" fmla="*/ 28 w 33"/>
              <a:gd name="T17" fmla="*/ 9 h 31"/>
              <a:gd name="T18" fmla="*/ 28 w 33"/>
              <a:gd name="T19" fmla="*/ 13 h 31"/>
              <a:gd name="T20" fmla="*/ 28 w 33"/>
              <a:gd name="T21" fmla="*/ 17 h 31"/>
              <a:gd name="T22" fmla="*/ 29 w 33"/>
              <a:gd name="T23" fmla="*/ 21 h 31"/>
              <a:gd name="T24" fmla="*/ 30 w 33"/>
              <a:gd name="T25" fmla="*/ 26 h 31"/>
              <a:gd name="T26" fmla="*/ 33 w 33"/>
              <a:gd name="T27" fmla="*/ 31 h 31"/>
              <a:gd name="T28" fmla="*/ 0 w 33"/>
              <a:gd name="T29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57" name="Freeform 509"/>
          <p:cNvSpPr>
            <a:spLocks/>
          </p:cNvSpPr>
          <p:nvPr>
            <p:custDataLst>
              <p:tags r:id="rId342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>
              <a:gd name="T0" fmla="*/ 3 w 129"/>
              <a:gd name="T1" fmla="*/ 44 h 56"/>
              <a:gd name="T2" fmla="*/ 1 w 129"/>
              <a:gd name="T3" fmla="*/ 42 h 56"/>
              <a:gd name="T4" fmla="*/ 1 w 129"/>
              <a:gd name="T5" fmla="*/ 40 h 56"/>
              <a:gd name="T6" fmla="*/ 0 w 129"/>
              <a:gd name="T7" fmla="*/ 37 h 56"/>
              <a:gd name="T8" fmla="*/ 1 w 129"/>
              <a:gd name="T9" fmla="*/ 33 h 56"/>
              <a:gd name="T10" fmla="*/ 2 w 129"/>
              <a:gd name="T11" fmla="*/ 25 h 56"/>
              <a:gd name="T12" fmla="*/ 3 w 129"/>
              <a:gd name="T13" fmla="*/ 18 h 56"/>
              <a:gd name="T14" fmla="*/ 9 w 129"/>
              <a:gd name="T15" fmla="*/ 13 h 56"/>
              <a:gd name="T16" fmla="*/ 16 w 129"/>
              <a:gd name="T17" fmla="*/ 9 h 56"/>
              <a:gd name="T18" fmla="*/ 21 w 129"/>
              <a:gd name="T19" fmla="*/ 6 h 56"/>
              <a:gd name="T20" fmla="*/ 27 w 129"/>
              <a:gd name="T21" fmla="*/ 5 h 56"/>
              <a:gd name="T22" fmla="*/ 39 w 129"/>
              <a:gd name="T23" fmla="*/ 3 h 56"/>
              <a:gd name="T24" fmla="*/ 57 w 129"/>
              <a:gd name="T25" fmla="*/ 0 h 56"/>
              <a:gd name="T26" fmla="*/ 60 w 129"/>
              <a:gd name="T27" fmla="*/ 5 h 56"/>
              <a:gd name="T28" fmla="*/ 64 w 129"/>
              <a:gd name="T29" fmla="*/ 8 h 56"/>
              <a:gd name="T30" fmla="*/ 69 w 129"/>
              <a:gd name="T31" fmla="*/ 11 h 56"/>
              <a:gd name="T32" fmla="*/ 73 w 129"/>
              <a:gd name="T33" fmla="*/ 14 h 56"/>
              <a:gd name="T34" fmla="*/ 83 w 129"/>
              <a:gd name="T35" fmla="*/ 18 h 56"/>
              <a:gd name="T36" fmla="*/ 93 w 129"/>
              <a:gd name="T37" fmla="*/ 21 h 56"/>
              <a:gd name="T38" fmla="*/ 103 w 129"/>
              <a:gd name="T39" fmla="*/ 25 h 56"/>
              <a:gd name="T40" fmla="*/ 113 w 129"/>
              <a:gd name="T41" fmla="*/ 29 h 56"/>
              <a:gd name="T42" fmla="*/ 117 w 129"/>
              <a:gd name="T43" fmla="*/ 32 h 56"/>
              <a:gd name="T44" fmla="*/ 121 w 129"/>
              <a:gd name="T45" fmla="*/ 35 h 56"/>
              <a:gd name="T46" fmla="*/ 126 w 129"/>
              <a:gd name="T47" fmla="*/ 38 h 56"/>
              <a:gd name="T48" fmla="*/ 129 w 129"/>
              <a:gd name="T49" fmla="*/ 44 h 56"/>
              <a:gd name="T50" fmla="*/ 119 w 129"/>
              <a:gd name="T51" fmla="*/ 48 h 56"/>
              <a:gd name="T52" fmla="*/ 109 w 129"/>
              <a:gd name="T53" fmla="*/ 51 h 56"/>
              <a:gd name="T54" fmla="*/ 99 w 129"/>
              <a:gd name="T55" fmla="*/ 53 h 56"/>
              <a:gd name="T56" fmla="*/ 90 w 129"/>
              <a:gd name="T57" fmla="*/ 54 h 56"/>
              <a:gd name="T58" fmla="*/ 70 w 129"/>
              <a:gd name="T59" fmla="*/ 56 h 56"/>
              <a:gd name="T60" fmla="*/ 49 w 129"/>
              <a:gd name="T61" fmla="*/ 56 h 56"/>
              <a:gd name="T62" fmla="*/ 40 w 129"/>
              <a:gd name="T63" fmla="*/ 55 h 56"/>
              <a:gd name="T64" fmla="*/ 31 w 129"/>
              <a:gd name="T65" fmla="*/ 54 h 56"/>
              <a:gd name="T66" fmla="*/ 23 w 129"/>
              <a:gd name="T67" fmla="*/ 52 h 56"/>
              <a:gd name="T68" fmla="*/ 16 w 129"/>
              <a:gd name="T69" fmla="*/ 50 h 56"/>
              <a:gd name="T70" fmla="*/ 6 w 129"/>
              <a:gd name="T71" fmla="*/ 46 h 56"/>
              <a:gd name="T72" fmla="*/ 3 w 129"/>
              <a:gd name="T73" fmla="*/ 4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58" name="Freeform 510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>
              <a:gd name="T0" fmla="*/ 21 w 41"/>
              <a:gd name="T1" fmla="*/ 42 h 42"/>
              <a:gd name="T2" fmla="*/ 0 w 41"/>
              <a:gd name="T3" fmla="*/ 30 h 42"/>
              <a:gd name="T4" fmla="*/ 0 w 41"/>
              <a:gd name="T5" fmla="*/ 6 h 42"/>
              <a:gd name="T6" fmla="*/ 7 w 41"/>
              <a:gd name="T7" fmla="*/ 5 h 42"/>
              <a:gd name="T8" fmla="*/ 14 w 41"/>
              <a:gd name="T9" fmla="*/ 3 h 42"/>
              <a:gd name="T10" fmla="*/ 24 w 41"/>
              <a:gd name="T11" fmla="*/ 1 h 42"/>
              <a:gd name="T12" fmla="*/ 34 w 41"/>
              <a:gd name="T13" fmla="*/ 0 h 42"/>
              <a:gd name="T14" fmla="*/ 34 w 41"/>
              <a:gd name="T15" fmla="*/ 18 h 42"/>
              <a:gd name="T16" fmla="*/ 41 w 41"/>
              <a:gd name="T17" fmla="*/ 18 h 42"/>
              <a:gd name="T18" fmla="*/ 21 w 41"/>
              <a:gd name="T1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59" name="Freeform 511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>
              <a:gd name="T0" fmla="*/ 60 w 93"/>
              <a:gd name="T1" fmla="*/ 9 h 39"/>
              <a:gd name="T2" fmla="*/ 67 w 93"/>
              <a:gd name="T3" fmla="*/ 18 h 39"/>
              <a:gd name="T4" fmla="*/ 77 w 93"/>
              <a:gd name="T5" fmla="*/ 28 h 39"/>
              <a:gd name="T6" fmla="*/ 81 w 93"/>
              <a:gd name="T7" fmla="*/ 33 h 39"/>
              <a:gd name="T8" fmla="*/ 86 w 93"/>
              <a:gd name="T9" fmla="*/ 36 h 39"/>
              <a:gd name="T10" fmla="*/ 90 w 93"/>
              <a:gd name="T11" fmla="*/ 38 h 39"/>
              <a:gd name="T12" fmla="*/ 93 w 93"/>
              <a:gd name="T13" fmla="*/ 39 h 39"/>
              <a:gd name="T14" fmla="*/ 60 w 93"/>
              <a:gd name="T15" fmla="*/ 39 h 39"/>
              <a:gd name="T16" fmla="*/ 50 w 93"/>
              <a:gd name="T17" fmla="*/ 36 h 39"/>
              <a:gd name="T18" fmla="*/ 43 w 93"/>
              <a:gd name="T19" fmla="*/ 32 h 39"/>
              <a:gd name="T20" fmla="*/ 36 w 93"/>
              <a:gd name="T21" fmla="*/ 28 h 39"/>
              <a:gd name="T22" fmla="*/ 30 w 93"/>
              <a:gd name="T23" fmla="*/ 23 h 39"/>
              <a:gd name="T24" fmla="*/ 24 w 93"/>
              <a:gd name="T25" fmla="*/ 18 h 39"/>
              <a:gd name="T26" fmla="*/ 16 w 93"/>
              <a:gd name="T27" fmla="*/ 13 h 39"/>
              <a:gd name="T28" fmla="*/ 9 w 93"/>
              <a:gd name="T29" fmla="*/ 7 h 39"/>
              <a:gd name="T30" fmla="*/ 0 w 93"/>
              <a:gd name="T31" fmla="*/ 3 h 39"/>
              <a:gd name="T32" fmla="*/ 11 w 93"/>
              <a:gd name="T33" fmla="*/ 1 h 39"/>
              <a:gd name="T34" fmla="*/ 20 w 93"/>
              <a:gd name="T35" fmla="*/ 0 h 39"/>
              <a:gd name="T36" fmla="*/ 26 w 93"/>
              <a:gd name="T37" fmla="*/ 0 h 39"/>
              <a:gd name="T38" fmla="*/ 33 w 93"/>
              <a:gd name="T39" fmla="*/ 1 h 39"/>
              <a:gd name="T40" fmla="*/ 44 w 93"/>
              <a:gd name="T41" fmla="*/ 4 h 39"/>
              <a:gd name="T42" fmla="*/ 60 w 93"/>
              <a:gd name="T43" fmla="*/ 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60" name="Freeform 512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>
              <a:gd name="T0" fmla="*/ 39 w 39"/>
              <a:gd name="T1" fmla="*/ 19 h 19"/>
              <a:gd name="T2" fmla="*/ 13 w 39"/>
              <a:gd name="T3" fmla="*/ 19 h 19"/>
              <a:gd name="T4" fmla="*/ 8 w 39"/>
              <a:gd name="T5" fmla="*/ 19 h 19"/>
              <a:gd name="T6" fmla="*/ 5 w 39"/>
              <a:gd name="T7" fmla="*/ 17 h 19"/>
              <a:gd name="T8" fmla="*/ 3 w 39"/>
              <a:gd name="T9" fmla="*/ 14 h 19"/>
              <a:gd name="T10" fmla="*/ 2 w 39"/>
              <a:gd name="T11" fmla="*/ 11 h 19"/>
              <a:gd name="T12" fmla="*/ 0 w 39"/>
              <a:gd name="T13" fmla="*/ 5 h 19"/>
              <a:gd name="T14" fmla="*/ 0 w 39"/>
              <a:gd name="T15" fmla="*/ 0 h 19"/>
              <a:gd name="T16" fmla="*/ 13 w 39"/>
              <a:gd name="T17" fmla="*/ 4 h 19"/>
              <a:gd name="T18" fmla="*/ 22 w 39"/>
              <a:gd name="T19" fmla="*/ 9 h 19"/>
              <a:gd name="T20" fmla="*/ 30 w 39"/>
              <a:gd name="T21" fmla="*/ 14 h 19"/>
              <a:gd name="T22" fmla="*/ 39 w 39"/>
              <a:gd name="T23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61" name="Freeform 513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>
              <a:gd name="T0" fmla="*/ 0 w 26"/>
              <a:gd name="T1" fmla="*/ 36 h 36"/>
              <a:gd name="T2" fmla="*/ 3 w 26"/>
              <a:gd name="T3" fmla="*/ 31 h 36"/>
              <a:gd name="T4" fmla="*/ 10 w 26"/>
              <a:gd name="T5" fmla="*/ 20 h 36"/>
              <a:gd name="T6" fmla="*/ 18 w 26"/>
              <a:gd name="T7" fmla="*/ 8 h 36"/>
              <a:gd name="T8" fmla="*/ 26 w 26"/>
              <a:gd name="T9" fmla="*/ 0 h 36"/>
              <a:gd name="T10" fmla="*/ 26 w 26"/>
              <a:gd name="T11" fmla="*/ 9 h 36"/>
              <a:gd name="T12" fmla="*/ 26 w 26"/>
              <a:gd name="T13" fmla="*/ 18 h 36"/>
              <a:gd name="T14" fmla="*/ 25 w 26"/>
              <a:gd name="T15" fmla="*/ 22 h 36"/>
              <a:gd name="T16" fmla="*/ 24 w 26"/>
              <a:gd name="T17" fmla="*/ 26 h 36"/>
              <a:gd name="T18" fmla="*/ 21 w 26"/>
              <a:gd name="T19" fmla="*/ 29 h 36"/>
              <a:gd name="T20" fmla="*/ 17 w 26"/>
              <a:gd name="T21" fmla="*/ 32 h 36"/>
              <a:gd name="T22" fmla="*/ 14 w 26"/>
              <a:gd name="T23" fmla="*/ 34 h 36"/>
              <a:gd name="T24" fmla="*/ 10 w 26"/>
              <a:gd name="T25" fmla="*/ 35 h 36"/>
              <a:gd name="T26" fmla="*/ 4 w 26"/>
              <a:gd name="T27" fmla="*/ 36 h 36"/>
              <a:gd name="T28" fmla="*/ 0 w 26"/>
              <a:gd name="T2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62" name="Freeform 514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>
              <a:gd name="T0" fmla="*/ 0 w 6"/>
              <a:gd name="T1" fmla="*/ 37 h 37"/>
              <a:gd name="T2" fmla="*/ 0 w 6"/>
              <a:gd name="T3" fmla="*/ 0 h 37"/>
              <a:gd name="T4" fmla="*/ 6 w 6"/>
              <a:gd name="T5" fmla="*/ 0 h 37"/>
              <a:gd name="T6" fmla="*/ 6 w 6"/>
              <a:gd name="T7" fmla="*/ 31 h 37"/>
              <a:gd name="T8" fmla="*/ 0 w 6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63" name="Freeform 515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>
              <a:gd name="T0" fmla="*/ 0 w 20"/>
              <a:gd name="T1" fmla="*/ 31 h 43"/>
              <a:gd name="T2" fmla="*/ 0 w 20"/>
              <a:gd name="T3" fmla="*/ 25 h 43"/>
              <a:gd name="T4" fmla="*/ 0 w 20"/>
              <a:gd name="T5" fmla="*/ 18 h 43"/>
              <a:gd name="T6" fmla="*/ 2 w 20"/>
              <a:gd name="T7" fmla="*/ 9 h 43"/>
              <a:gd name="T8" fmla="*/ 7 w 20"/>
              <a:gd name="T9" fmla="*/ 0 h 43"/>
              <a:gd name="T10" fmla="*/ 11 w 20"/>
              <a:gd name="T11" fmla="*/ 7 h 43"/>
              <a:gd name="T12" fmla="*/ 16 w 20"/>
              <a:gd name="T13" fmla="*/ 12 h 43"/>
              <a:gd name="T14" fmla="*/ 17 w 20"/>
              <a:gd name="T15" fmla="*/ 14 h 43"/>
              <a:gd name="T16" fmla="*/ 19 w 20"/>
              <a:gd name="T17" fmla="*/ 18 h 43"/>
              <a:gd name="T18" fmla="*/ 19 w 20"/>
              <a:gd name="T19" fmla="*/ 21 h 43"/>
              <a:gd name="T20" fmla="*/ 20 w 20"/>
              <a:gd name="T21" fmla="*/ 25 h 43"/>
              <a:gd name="T22" fmla="*/ 19 w 20"/>
              <a:gd name="T23" fmla="*/ 27 h 43"/>
              <a:gd name="T24" fmla="*/ 18 w 20"/>
              <a:gd name="T25" fmla="*/ 30 h 43"/>
              <a:gd name="T26" fmla="*/ 16 w 20"/>
              <a:gd name="T27" fmla="*/ 33 h 43"/>
              <a:gd name="T28" fmla="*/ 12 w 20"/>
              <a:gd name="T29" fmla="*/ 36 h 43"/>
              <a:gd name="T30" fmla="*/ 9 w 20"/>
              <a:gd name="T31" fmla="*/ 39 h 43"/>
              <a:gd name="T32" fmla="*/ 6 w 20"/>
              <a:gd name="T33" fmla="*/ 41 h 43"/>
              <a:gd name="T34" fmla="*/ 2 w 20"/>
              <a:gd name="T35" fmla="*/ 42 h 43"/>
              <a:gd name="T36" fmla="*/ 0 w 20"/>
              <a:gd name="T37" fmla="*/ 43 h 43"/>
              <a:gd name="T38" fmla="*/ 0 w 20"/>
              <a:gd name="T39" fmla="*/ 3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64" name="Freeform 516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>
              <a:gd name="T0" fmla="*/ 30 h 30"/>
              <a:gd name="T1" fmla="*/ 25 h 30"/>
              <a:gd name="T2" fmla="*/ 18 h 30"/>
              <a:gd name="T3" fmla="*/ 9 h 30"/>
              <a:gd name="T4" fmla="*/ 0 h 30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65" name="Freeform 517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20 w 20"/>
              <a:gd name="T3" fmla="*/ 0 h 24"/>
              <a:gd name="T4" fmla="*/ 0 w 20"/>
              <a:gd name="T5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66" name="Freeform 518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9 w 46"/>
              <a:gd name="T3" fmla="*/ 3 h 19"/>
              <a:gd name="T4" fmla="*/ 14 w 46"/>
              <a:gd name="T5" fmla="*/ 5 h 19"/>
              <a:gd name="T6" fmla="*/ 19 w 46"/>
              <a:gd name="T7" fmla="*/ 8 h 19"/>
              <a:gd name="T8" fmla="*/ 23 w 46"/>
              <a:gd name="T9" fmla="*/ 10 h 19"/>
              <a:gd name="T10" fmla="*/ 26 w 46"/>
              <a:gd name="T11" fmla="*/ 12 h 19"/>
              <a:gd name="T12" fmla="*/ 32 w 46"/>
              <a:gd name="T13" fmla="*/ 14 h 19"/>
              <a:gd name="T14" fmla="*/ 37 w 46"/>
              <a:gd name="T15" fmla="*/ 17 h 19"/>
              <a:gd name="T16" fmla="*/ 46 w 46"/>
              <a:gd name="T17" fmla="*/ 19 h 19"/>
              <a:gd name="T18" fmla="*/ 33 w 46"/>
              <a:gd name="T19" fmla="*/ 19 h 19"/>
              <a:gd name="T20" fmla="*/ 24 w 46"/>
              <a:gd name="T21" fmla="*/ 19 h 19"/>
              <a:gd name="T22" fmla="*/ 18 w 46"/>
              <a:gd name="T23" fmla="*/ 18 h 19"/>
              <a:gd name="T24" fmla="*/ 13 w 46"/>
              <a:gd name="T25" fmla="*/ 17 h 19"/>
              <a:gd name="T26" fmla="*/ 10 w 46"/>
              <a:gd name="T27" fmla="*/ 14 h 19"/>
              <a:gd name="T28" fmla="*/ 7 w 46"/>
              <a:gd name="T29" fmla="*/ 11 h 19"/>
              <a:gd name="T30" fmla="*/ 4 w 46"/>
              <a:gd name="T31" fmla="*/ 7 h 19"/>
              <a:gd name="T32" fmla="*/ 0 w 46"/>
              <a:gd name="T3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67" name="Freeform 519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>
              <a:gd name="T0" fmla="*/ 33 w 100"/>
              <a:gd name="T1" fmla="*/ 0 h 55"/>
              <a:gd name="T2" fmla="*/ 100 w 100"/>
              <a:gd name="T3" fmla="*/ 12 h 55"/>
              <a:gd name="T4" fmla="*/ 100 w 100"/>
              <a:gd name="T5" fmla="*/ 55 h 55"/>
              <a:gd name="T6" fmla="*/ 13 w 100"/>
              <a:gd name="T7" fmla="*/ 55 h 55"/>
              <a:gd name="T8" fmla="*/ 0 w 100"/>
              <a:gd name="T9" fmla="*/ 43 h 55"/>
              <a:gd name="T10" fmla="*/ 1 w 100"/>
              <a:gd name="T11" fmla="*/ 38 h 55"/>
              <a:gd name="T12" fmla="*/ 4 w 100"/>
              <a:gd name="T13" fmla="*/ 32 h 55"/>
              <a:gd name="T14" fmla="*/ 10 w 100"/>
              <a:gd name="T15" fmla="*/ 25 h 55"/>
              <a:gd name="T16" fmla="*/ 16 w 100"/>
              <a:gd name="T17" fmla="*/ 18 h 55"/>
              <a:gd name="T18" fmla="*/ 27 w 100"/>
              <a:gd name="T19" fmla="*/ 5 h 55"/>
              <a:gd name="T20" fmla="*/ 33 w 100"/>
              <a:gd name="T2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68" name="Freeform 520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>
              <a:gd name="T0" fmla="*/ 53 w 99"/>
              <a:gd name="T1" fmla="*/ 2 h 51"/>
              <a:gd name="T2" fmla="*/ 58 w 99"/>
              <a:gd name="T3" fmla="*/ 1 h 51"/>
              <a:gd name="T4" fmla="*/ 62 w 99"/>
              <a:gd name="T5" fmla="*/ 0 h 51"/>
              <a:gd name="T6" fmla="*/ 65 w 99"/>
              <a:gd name="T7" fmla="*/ 0 h 51"/>
              <a:gd name="T8" fmla="*/ 69 w 99"/>
              <a:gd name="T9" fmla="*/ 1 h 51"/>
              <a:gd name="T10" fmla="*/ 74 w 99"/>
              <a:gd name="T11" fmla="*/ 5 h 51"/>
              <a:gd name="T12" fmla="*/ 79 w 99"/>
              <a:gd name="T13" fmla="*/ 11 h 51"/>
              <a:gd name="T14" fmla="*/ 83 w 99"/>
              <a:gd name="T15" fmla="*/ 18 h 51"/>
              <a:gd name="T16" fmla="*/ 87 w 99"/>
              <a:gd name="T17" fmla="*/ 25 h 51"/>
              <a:gd name="T18" fmla="*/ 91 w 99"/>
              <a:gd name="T19" fmla="*/ 28 h 51"/>
              <a:gd name="T20" fmla="*/ 93 w 99"/>
              <a:gd name="T21" fmla="*/ 30 h 51"/>
              <a:gd name="T22" fmla="*/ 96 w 99"/>
              <a:gd name="T23" fmla="*/ 32 h 51"/>
              <a:gd name="T24" fmla="*/ 99 w 99"/>
              <a:gd name="T25" fmla="*/ 34 h 51"/>
              <a:gd name="T26" fmla="*/ 99 w 99"/>
              <a:gd name="T27" fmla="*/ 37 h 51"/>
              <a:gd name="T28" fmla="*/ 97 w 99"/>
              <a:gd name="T29" fmla="*/ 40 h 51"/>
              <a:gd name="T30" fmla="*/ 95 w 99"/>
              <a:gd name="T31" fmla="*/ 43 h 51"/>
              <a:gd name="T32" fmla="*/ 91 w 99"/>
              <a:gd name="T33" fmla="*/ 45 h 51"/>
              <a:gd name="T34" fmla="*/ 86 w 99"/>
              <a:gd name="T35" fmla="*/ 47 h 51"/>
              <a:gd name="T36" fmla="*/ 81 w 99"/>
              <a:gd name="T37" fmla="*/ 48 h 51"/>
              <a:gd name="T38" fmla="*/ 74 w 99"/>
              <a:gd name="T39" fmla="*/ 50 h 51"/>
              <a:gd name="T40" fmla="*/ 68 w 99"/>
              <a:gd name="T41" fmla="*/ 50 h 51"/>
              <a:gd name="T42" fmla="*/ 52 w 99"/>
              <a:gd name="T43" fmla="*/ 51 h 51"/>
              <a:gd name="T44" fmla="*/ 36 w 99"/>
              <a:gd name="T45" fmla="*/ 49 h 51"/>
              <a:gd name="T46" fmla="*/ 27 w 99"/>
              <a:gd name="T47" fmla="*/ 48 h 51"/>
              <a:gd name="T48" fmla="*/ 18 w 99"/>
              <a:gd name="T49" fmla="*/ 45 h 51"/>
              <a:gd name="T50" fmla="*/ 9 w 99"/>
              <a:gd name="T51" fmla="*/ 43 h 51"/>
              <a:gd name="T52" fmla="*/ 1 w 99"/>
              <a:gd name="T53" fmla="*/ 40 h 51"/>
              <a:gd name="T54" fmla="*/ 0 w 99"/>
              <a:gd name="T55" fmla="*/ 39 h 51"/>
              <a:gd name="T56" fmla="*/ 1 w 99"/>
              <a:gd name="T57" fmla="*/ 37 h 51"/>
              <a:gd name="T58" fmla="*/ 3 w 99"/>
              <a:gd name="T59" fmla="*/ 35 h 51"/>
              <a:gd name="T60" fmla="*/ 6 w 99"/>
              <a:gd name="T61" fmla="*/ 33 h 51"/>
              <a:gd name="T62" fmla="*/ 14 w 99"/>
              <a:gd name="T63" fmla="*/ 29 h 51"/>
              <a:gd name="T64" fmla="*/ 25 w 99"/>
              <a:gd name="T65" fmla="*/ 24 h 51"/>
              <a:gd name="T66" fmla="*/ 35 w 99"/>
              <a:gd name="T67" fmla="*/ 19 h 51"/>
              <a:gd name="T68" fmla="*/ 45 w 99"/>
              <a:gd name="T69" fmla="*/ 12 h 51"/>
              <a:gd name="T70" fmla="*/ 48 w 99"/>
              <a:gd name="T71" fmla="*/ 10 h 51"/>
              <a:gd name="T72" fmla="*/ 51 w 99"/>
              <a:gd name="T73" fmla="*/ 7 h 51"/>
              <a:gd name="T74" fmla="*/ 52 w 99"/>
              <a:gd name="T75" fmla="*/ 5 h 51"/>
              <a:gd name="T76" fmla="*/ 53 w 99"/>
              <a:gd name="T77" fmla="*/ 2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69" name="Freeform 521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>
              <a:gd name="T0" fmla="*/ 315 w 525"/>
              <a:gd name="T1" fmla="*/ 27 h 311"/>
              <a:gd name="T2" fmla="*/ 342 w 525"/>
              <a:gd name="T3" fmla="*/ 21 h 311"/>
              <a:gd name="T4" fmla="*/ 385 w 525"/>
              <a:gd name="T5" fmla="*/ 20 h 311"/>
              <a:gd name="T6" fmla="*/ 408 w 525"/>
              <a:gd name="T7" fmla="*/ 17 h 311"/>
              <a:gd name="T8" fmla="*/ 427 w 525"/>
              <a:gd name="T9" fmla="*/ 7 h 311"/>
              <a:gd name="T10" fmla="*/ 514 w 525"/>
              <a:gd name="T11" fmla="*/ 6 h 311"/>
              <a:gd name="T12" fmla="*/ 525 w 525"/>
              <a:gd name="T13" fmla="*/ 19 h 311"/>
              <a:gd name="T14" fmla="*/ 468 w 525"/>
              <a:gd name="T15" fmla="*/ 47 h 311"/>
              <a:gd name="T16" fmla="*/ 392 w 525"/>
              <a:gd name="T17" fmla="*/ 73 h 311"/>
              <a:gd name="T18" fmla="*/ 356 w 525"/>
              <a:gd name="T19" fmla="*/ 80 h 311"/>
              <a:gd name="T20" fmla="*/ 321 w 525"/>
              <a:gd name="T21" fmla="*/ 83 h 311"/>
              <a:gd name="T22" fmla="*/ 279 w 525"/>
              <a:gd name="T23" fmla="*/ 101 h 311"/>
              <a:gd name="T24" fmla="*/ 244 w 525"/>
              <a:gd name="T25" fmla="*/ 121 h 311"/>
              <a:gd name="T26" fmla="*/ 218 w 525"/>
              <a:gd name="T27" fmla="*/ 129 h 311"/>
              <a:gd name="T28" fmla="*/ 187 w 525"/>
              <a:gd name="T29" fmla="*/ 123 h 311"/>
              <a:gd name="T30" fmla="*/ 178 w 525"/>
              <a:gd name="T31" fmla="*/ 137 h 311"/>
              <a:gd name="T32" fmla="*/ 175 w 525"/>
              <a:gd name="T33" fmla="*/ 145 h 311"/>
              <a:gd name="T34" fmla="*/ 185 w 525"/>
              <a:gd name="T35" fmla="*/ 148 h 311"/>
              <a:gd name="T36" fmla="*/ 184 w 525"/>
              <a:gd name="T37" fmla="*/ 157 h 311"/>
              <a:gd name="T38" fmla="*/ 176 w 525"/>
              <a:gd name="T39" fmla="*/ 167 h 311"/>
              <a:gd name="T40" fmla="*/ 180 w 525"/>
              <a:gd name="T41" fmla="*/ 179 h 311"/>
              <a:gd name="T42" fmla="*/ 162 w 525"/>
              <a:gd name="T43" fmla="*/ 194 h 311"/>
              <a:gd name="T44" fmla="*/ 144 w 525"/>
              <a:gd name="T45" fmla="*/ 204 h 311"/>
              <a:gd name="T46" fmla="*/ 141 w 525"/>
              <a:gd name="T47" fmla="*/ 213 h 311"/>
              <a:gd name="T48" fmla="*/ 144 w 525"/>
              <a:gd name="T49" fmla="*/ 228 h 311"/>
              <a:gd name="T50" fmla="*/ 163 w 525"/>
              <a:gd name="T51" fmla="*/ 247 h 311"/>
              <a:gd name="T52" fmla="*/ 191 w 525"/>
              <a:gd name="T53" fmla="*/ 267 h 311"/>
              <a:gd name="T54" fmla="*/ 256 w 525"/>
              <a:gd name="T55" fmla="*/ 300 h 311"/>
              <a:gd name="T56" fmla="*/ 243 w 525"/>
              <a:gd name="T57" fmla="*/ 311 h 311"/>
              <a:gd name="T58" fmla="*/ 189 w 525"/>
              <a:gd name="T59" fmla="*/ 309 h 311"/>
              <a:gd name="T60" fmla="*/ 145 w 525"/>
              <a:gd name="T61" fmla="*/ 308 h 311"/>
              <a:gd name="T62" fmla="*/ 129 w 525"/>
              <a:gd name="T63" fmla="*/ 304 h 311"/>
              <a:gd name="T64" fmla="*/ 123 w 525"/>
              <a:gd name="T65" fmla="*/ 298 h 311"/>
              <a:gd name="T66" fmla="*/ 120 w 525"/>
              <a:gd name="T67" fmla="*/ 282 h 311"/>
              <a:gd name="T68" fmla="*/ 116 w 525"/>
              <a:gd name="T69" fmla="*/ 278 h 311"/>
              <a:gd name="T70" fmla="*/ 95 w 525"/>
              <a:gd name="T71" fmla="*/ 277 h 311"/>
              <a:gd name="T72" fmla="*/ 80 w 525"/>
              <a:gd name="T73" fmla="*/ 296 h 311"/>
              <a:gd name="T74" fmla="*/ 44 w 525"/>
              <a:gd name="T75" fmla="*/ 282 h 311"/>
              <a:gd name="T76" fmla="*/ 0 w 525"/>
              <a:gd name="T77" fmla="*/ 246 h 311"/>
              <a:gd name="T78" fmla="*/ 18 w 525"/>
              <a:gd name="T79" fmla="*/ 239 h 311"/>
              <a:gd name="T80" fmla="*/ 34 w 525"/>
              <a:gd name="T81" fmla="*/ 222 h 311"/>
              <a:gd name="T82" fmla="*/ 28 w 525"/>
              <a:gd name="T83" fmla="*/ 213 h 311"/>
              <a:gd name="T84" fmla="*/ 34 w 525"/>
              <a:gd name="T85" fmla="*/ 200 h 311"/>
              <a:gd name="T86" fmla="*/ 40 w 525"/>
              <a:gd name="T87" fmla="*/ 188 h 311"/>
              <a:gd name="T88" fmla="*/ 34 w 525"/>
              <a:gd name="T89" fmla="*/ 179 h 311"/>
              <a:gd name="T90" fmla="*/ 134 w 525"/>
              <a:gd name="T91" fmla="*/ 179 h 311"/>
              <a:gd name="T92" fmla="*/ 131 w 525"/>
              <a:gd name="T93" fmla="*/ 177 h 311"/>
              <a:gd name="T94" fmla="*/ 90 w 525"/>
              <a:gd name="T95" fmla="*/ 166 h 311"/>
              <a:gd name="T96" fmla="*/ 54 w 525"/>
              <a:gd name="T97" fmla="*/ 148 h 311"/>
              <a:gd name="T98" fmla="*/ 84 w 525"/>
              <a:gd name="T99" fmla="*/ 134 h 311"/>
              <a:gd name="T100" fmla="*/ 120 w 525"/>
              <a:gd name="T101" fmla="*/ 111 h 311"/>
              <a:gd name="T102" fmla="*/ 111 w 525"/>
              <a:gd name="T103" fmla="*/ 103 h 311"/>
              <a:gd name="T104" fmla="*/ 100 w 525"/>
              <a:gd name="T105" fmla="*/ 80 h 311"/>
              <a:gd name="T106" fmla="*/ 127 w 525"/>
              <a:gd name="T107" fmla="*/ 76 h 311"/>
              <a:gd name="T108" fmla="*/ 184 w 525"/>
              <a:gd name="T109" fmla="*/ 58 h 311"/>
              <a:gd name="T110" fmla="*/ 254 w 525"/>
              <a:gd name="T111" fmla="*/ 35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70" name="Freeform 522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>
              <a:gd name="T0" fmla="*/ 46 w 79"/>
              <a:gd name="T1" fmla="*/ 0 h 38"/>
              <a:gd name="T2" fmla="*/ 54 w 79"/>
              <a:gd name="T3" fmla="*/ 1 h 38"/>
              <a:gd name="T4" fmla="*/ 62 w 79"/>
              <a:gd name="T5" fmla="*/ 3 h 38"/>
              <a:gd name="T6" fmla="*/ 68 w 79"/>
              <a:gd name="T7" fmla="*/ 7 h 38"/>
              <a:gd name="T8" fmla="*/ 72 w 79"/>
              <a:gd name="T9" fmla="*/ 12 h 38"/>
              <a:gd name="T10" fmla="*/ 75 w 79"/>
              <a:gd name="T11" fmla="*/ 17 h 38"/>
              <a:gd name="T12" fmla="*/ 77 w 79"/>
              <a:gd name="T13" fmla="*/ 22 h 38"/>
              <a:gd name="T14" fmla="*/ 79 w 79"/>
              <a:gd name="T15" fmla="*/ 27 h 38"/>
              <a:gd name="T16" fmla="*/ 79 w 79"/>
              <a:gd name="T17" fmla="*/ 32 h 38"/>
              <a:gd name="T18" fmla="*/ 77 w 79"/>
              <a:gd name="T19" fmla="*/ 34 h 38"/>
              <a:gd name="T20" fmla="*/ 75 w 79"/>
              <a:gd name="T21" fmla="*/ 35 h 38"/>
              <a:gd name="T22" fmla="*/ 72 w 79"/>
              <a:gd name="T23" fmla="*/ 36 h 38"/>
              <a:gd name="T24" fmla="*/ 68 w 79"/>
              <a:gd name="T25" fmla="*/ 37 h 38"/>
              <a:gd name="T26" fmla="*/ 57 w 79"/>
              <a:gd name="T27" fmla="*/ 38 h 38"/>
              <a:gd name="T28" fmla="*/ 46 w 79"/>
              <a:gd name="T29" fmla="*/ 38 h 38"/>
              <a:gd name="T30" fmla="*/ 38 w 79"/>
              <a:gd name="T31" fmla="*/ 37 h 38"/>
              <a:gd name="T32" fmla="*/ 30 w 79"/>
              <a:gd name="T33" fmla="*/ 36 h 38"/>
              <a:gd name="T34" fmla="*/ 21 w 79"/>
              <a:gd name="T35" fmla="*/ 35 h 38"/>
              <a:gd name="T36" fmla="*/ 15 w 79"/>
              <a:gd name="T37" fmla="*/ 32 h 38"/>
              <a:gd name="T38" fmla="*/ 8 w 79"/>
              <a:gd name="T39" fmla="*/ 29 h 38"/>
              <a:gd name="T40" fmla="*/ 4 w 79"/>
              <a:gd name="T41" fmla="*/ 25 h 38"/>
              <a:gd name="T42" fmla="*/ 2 w 79"/>
              <a:gd name="T43" fmla="*/ 22 h 38"/>
              <a:gd name="T44" fmla="*/ 1 w 79"/>
              <a:gd name="T45" fmla="*/ 20 h 38"/>
              <a:gd name="T46" fmla="*/ 0 w 79"/>
              <a:gd name="T47" fmla="*/ 17 h 38"/>
              <a:gd name="T48" fmla="*/ 0 w 79"/>
              <a:gd name="T49" fmla="*/ 13 h 38"/>
              <a:gd name="T50" fmla="*/ 1 w 79"/>
              <a:gd name="T51" fmla="*/ 11 h 38"/>
              <a:gd name="T52" fmla="*/ 4 w 79"/>
              <a:gd name="T53" fmla="*/ 9 h 38"/>
              <a:gd name="T54" fmla="*/ 10 w 79"/>
              <a:gd name="T55" fmla="*/ 6 h 38"/>
              <a:gd name="T56" fmla="*/ 17 w 79"/>
              <a:gd name="T57" fmla="*/ 4 h 38"/>
              <a:gd name="T58" fmla="*/ 32 w 79"/>
              <a:gd name="T59" fmla="*/ 1 h 38"/>
              <a:gd name="T60" fmla="*/ 46 w 79"/>
              <a:gd name="T61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71" name="Freeform 523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>
              <a:gd name="T0" fmla="*/ 26 w 459"/>
              <a:gd name="T1" fmla="*/ 45 h 511"/>
              <a:gd name="T2" fmla="*/ 12 w 459"/>
              <a:gd name="T3" fmla="*/ 25 h 511"/>
              <a:gd name="T4" fmla="*/ 0 w 459"/>
              <a:gd name="T5" fmla="*/ 0 h 511"/>
              <a:gd name="T6" fmla="*/ 22 w 459"/>
              <a:gd name="T7" fmla="*/ 7 h 511"/>
              <a:gd name="T8" fmla="*/ 33 w 459"/>
              <a:gd name="T9" fmla="*/ 6 h 511"/>
              <a:gd name="T10" fmla="*/ 95 w 459"/>
              <a:gd name="T11" fmla="*/ 67 h 511"/>
              <a:gd name="T12" fmla="*/ 146 w 459"/>
              <a:gd name="T13" fmla="*/ 123 h 511"/>
              <a:gd name="T14" fmla="*/ 216 w 459"/>
              <a:gd name="T15" fmla="*/ 198 h 511"/>
              <a:gd name="T16" fmla="*/ 258 w 459"/>
              <a:gd name="T17" fmla="*/ 237 h 511"/>
              <a:gd name="T18" fmla="*/ 303 w 459"/>
              <a:gd name="T19" fmla="*/ 266 h 511"/>
              <a:gd name="T20" fmla="*/ 372 w 459"/>
              <a:gd name="T21" fmla="*/ 311 h 511"/>
              <a:gd name="T22" fmla="*/ 398 w 459"/>
              <a:gd name="T23" fmla="*/ 336 h 511"/>
              <a:gd name="T24" fmla="*/ 365 w 459"/>
              <a:gd name="T25" fmla="*/ 320 h 511"/>
              <a:gd name="T26" fmla="*/ 324 w 459"/>
              <a:gd name="T27" fmla="*/ 296 h 511"/>
              <a:gd name="T28" fmla="*/ 314 w 459"/>
              <a:gd name="T29" fmla="*/ 298 h 511"/>
              <a:gd name="T30" fmla="*/ 313 w 459"/>
              <a:gd name="T31" fmla="*/ 311 h 511"/>
              <a:gd name="T32" fmla="*/ 317 w 459"/>
              <a:gd name="T33" fmla="*/ 337 h 511"/>
              <a:gd name="T34" fmla="*/ 326 w 459"/>
              <a:gd name="T35" fmla="*/ 358 h 511"/>
              <a:gd name="T36" fmla="*/ 348 w 459"/>
              <a:gd name="T37" fmla="*/ 387 h 511"/>
              <a:gd name="T38" fmla="*/ 394 w 459"/>
              <a:gd name="T39" fmla="*/ 421 h 511"/>
              <a:gd name="T40" fmla="*/ 440 w 459"/>
              <a:gd name="T41" fmla="*/ 458 h 511"/>
              <a:gd name="T42" fmla="*/ 448 w 459"/>
              <a:gd name="T43" fmla="*/ 476 h 511"/>
              <a:gd name="T44" fmla="*/ 428 w 459"/>
              <a:gd name="T45" fmla="*/ 469 h 511"/>
              <a:gd name="T46" fmla="*/ 392 w 459"/>
              <a:gd name="T47" fmla="*/ 462 h 511"/>
              <a:gd name="T48" fmla="*/ 393 w 459"/>
              <a:gd name="T49" fmla="*/ 494 h 511"/>
              <a:gd name="T50" fmla="*/ 398 w 459"/>
              <a:gd name="T51" fmla="*/ 511 h 511"/>
              <a:gd name="T52" fmla="*/ 388 w 459"/>
              <a:gd name="T53" fmla="*/ 492 h 511"/>
              <a:gd name="T54" fmla="*/ 363 w 459"/>
              <a:gd name="T55" fmla="*/ 466 h 511"/>
              <a:gd name="T56" fmla="*/ 343 w 459"/>
              <a:gd name="T57" fmla="*/ 445 h 511"/>
              <a:gd name="T58" fmla="*/ 339 w 459"/>
              <a:gd name="T59" fmla="*/ 431 h 511"/>
              <a:gd name="T60" fmla="*/ 328 w 459"/>
              <a:gd name="T61" fmla="*/ 411 h 511"/>
              <a:gd name="T62" fmla="*/ 310 w 459"/>
              <a:gd name="T63" fmla="*/ 384 h 511"/>
              <a:gd name="T64" fmla="*/ 298 w 459"/>
              <a:gd name="T65" fmla="*/ 367 h 511"/>
              <a:gd name="T66" fmla="*/ 280 w 459"/>
              <a:gd name="T67" fmla="*/ 358 h 511"/>
              <a:gd name="T68" fmla="*/ 264 w 459"/>
              <a:gd name="T69" fmla="*/ 343 h 511"/>
              <a:gd name="T70" fmla="*/ 249 w 459"/>
              <a:gd name="T71" fmla="*/ 314 h 511"/>
              <a:gd name="T72" fmla="*/ 245 w 459"/>
              <a:gd name="T73" fmla="*/ 293 h 511"/>
              <a:gd name="T74" fmla="*/ 234 w 459"/>
              <a:gd name="T75" fmla="*/ 281 h 511"/>
              <a:gd name="T76" fmla="*/ 194 w 459"/>
              <a:gd name="T77" fmla="*/ 244 h 511"/>
              <a:gd name="T78" fmla="*/ 171 w 459"/>
              <a:gd name="T79" fmla="*/ 220 h 511"/>
              <a:gd name="T80" fmla="*/ 163 w 459"/>
              <a:gd name="T81" fmla="*/ 203 h 511"/>
              <a:gd name="T82" fmla="*/ 154 w 459"/>
              <a:gd name="T83" fmla="*/ 187 h 511"/>
              <a:gd name="T84" fmla="*/ 115 w 459"/>
              <a:gd name="T85" fmla="*/ 155 h 511"/>
              <a:gd name="T86" fmla="*/ 70 w 459"/>
              <a:gd name="T87" fmla="*/ 130 h 511"/>
              <a:gd name="T88" fmla="*/ 47 w 459"/>
              <a:gd name="T89" fmla="*/ 110 h 511"/>
              <a:gd name="T90" fmla="*/ 38 w 459"/>
              <a:gd name="T91" fmla="*/ 93 h 511"/>
              <a:gd name="T92" fmla="*/ 34 w 459"/>
              <a:gd name="T93" fmla="*/ 75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572" name="Group 524"/>
          <p:cNvGrpSpPr>
            <a:grpSpLocks/>
          </p:cNvGrpSpPr>
          <p:nvPr>
            <p:custDataLst>
              <p:tags r:id="rId357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</p:grpSpPr>
        <p:sp>
          <p:nvSpPr>
            <p:cNvPr id="257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3 w 240"/>
                <a:gd name="T1" fmla="*/ 247 h 259"/>
                <a:gd name="T2" fmla="*/ 79 w 240"/>
                <a:gd name="T3" fmla="*/ 259 h 259"/>
                <a:gd name="T4" fmla="*/ 120 w 240"/>
                <a:gd name="T5" fmla="*/ 240 h 259"/>
                <a:gd name="T6" fmla="*/ 133 w 240"/>
                <a:gd name="T7" fmla="*/ 210 h 259"/>
                <a:gd name="T8" fmla="*/ 192 w 240"/>
                <a:gd name="T9" fmla="*/ 161 h 259"/>
                <a:gd name="T10" fmla="*/ 212 w 240"/>
                <a:gd name="T11" fmla="*/ 111 h 259"/>
                <a:gd name="T12" fmla="*/ 240 w 240"/>
                <a:gd name="T13" fmla="*/ 26 h 259"/>
                <a:gd name="T14" fmla="*/ 212 w 240"/>
                <a:gd name="T15" fmla="*/ 0 h 259"/>
                <a:gd name="T16" fmla="*/ 206 w 240"/>
                <a:gd name="T17" fmla="*/ 32 h 259"/>
                <a:gd name="T18" fmla="*/ 199 w 240"/>
                <a:gd name="T19" fmla="*/ 74 h 259"/>
                <a:gd name="T20" fmla="*/ 166 w 240"/>
                <a:gd name="T21" fmla="*/ 105 h 259"/>
                <a:gd name="T22" fmla="*/ 133 w 240"/>
                <a:gd name="T23" fmla="*/ 149 h 259"/>
                <a:gd name="T24" fmla="*/ 113 w 240"/>
                <a:gd name="T25" fmla="*/ 179 h 259"/>
                <a:gd name="T26" fmla="*/ 93 w 240"/>
                <a:gd name="T27" fmla="*/ 216 h 259"/>
                <a:gd name="T28" fmla="*/ 20 w 240"/>
                <a:gd name="T29" fmla="*/ 222 h 259"/>
                <a:gd name="T30" fmla="*/ 0 w 240"/>
                <a:gd name="T31" fmla="*/ 222 h 259"/>
                <a:gd name="T32" fmla="*/ 13 w 240"/>
                <a:gd name="T33" fmla="*/ 24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7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33 w 259"/>
                <a:gd name="T1" fmla="*/ 104 h 104"/>
                <a:gd name="T2" fmla="*/ 26 w 259"/>
                <a:gd name="T3" fmla="*/ 86 h 104"/>
                <a:gd name="T4" fmla="*/ 52 w 259"/>
                <a:gd name="T5" fmla="*/ 62 h 104"/>
                <a:gd name="T6" fmla="*/ 72 w 259"/>
                <a:gd name="T7" fmla="*/ 49 h 104"/>
                <a:gd name="T8" fmla="*/ 126 w 259"/>
                <a:gd name="T9" fmla="*/ 43 h 104"/>
                <a:gd name="T10" fmla="*/ 172 w 259"/>
                <a:gd name="T11" fmla="*/ 43 h 104"/>
                <a:gd name="T12" fmla="*/ 246 w 259"/>
                <a:gd name="T13" fmla="*/ 31 h 104"/>
                <a:gd name="T14" fmla="*/ 259 w 259"/>
                <a:gd name="T15" fmla="*/ 7 h 104"/>
                <a:gd name="T16" fmla="*/ 246 w 259"/>
                <a:gd name="T17" fmla="*/ 0 h 104"/>
                <a:gd name="T18" fmla="*/ 205 w 259"/>
                <a:gd name="T19" fmla="*/ 13 h 104"/>
                <a:gd name="T20" fmla="*/ 152 w 259"/>
                <a:gd name="T21" fmla="*/ 7 h 104"/>
                <a:gd name="T22" fmla="*/ 106 w 259"/>
                <a:gd name="T23" fmla="*/ 13 h 104"/>
                <a:gd name="T24" fmla="*/ 52 w 259"/>
                <a:gd name="T25" fmla="*/ 19 h 104"/>
                <a:gd name="T26" fmla="*/ 26 w 259"/>
                <a:gd name="T27" fmla="*/ 43 h 104"/>
                <a:gd name="T28" fmla="*/ 0 w 259"/>
                <a:gd name="T29" fmla="*/ 68 h 104"/>
                <a:gd name="T30" fmla="*/ 0 w 259"/>
                <a:gd name="T31" fmla="*/ 104 h 104"/>
                <a:gd name="T32" fmla="*/ 33 w 259"/>
                <a:gd name="T3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575" name="Freeform 527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>
              <a:gd name="T0" fmla="*/ 932 w 1227"/>
              <a:gd name="T1" fmla="*/ 466 h 979"/>
              <a:gd name="T2" fmla="*/ 932 w 1227"/>
              <a:gd name="T3" fmla="*/ 442 h 979"/>
              <a:gd name="T4" fmla="*/ 930 w 1227"/>
              <a:gd name="T5" fmla="*/ 412 h 979"/>
              <a:gd name="T6" fmla="*/ 908 w 1227"/>
              <a:gd name="T7" fmla="*/ 385 h 979"/>
              <a:gd name="T8" fmla="*/ 899 w 1227"/>
              <a:gd name="T9" fmla="*/ 367 h 979"/>
              <a:gd name="T10" fmla="*/ 817 w 1227"/>
              <a:gd name="T11" fmla="*/ 312 h 979"/>
              <a:gd name="T12" fmla="*/ 759 w 1227"/>
              <a:gd name="T13" fmla="*/ 263 h 979"/>
              <a:gd name="T14" fmla="*/ 752 w 1227"/>
              <a:gd name="T15" fmla="*/ 229 h 979"/>
              <a:gd name="T16" fmla="*/ 726 w 1227"/>
              <a:gd name="T17" fmla="*/ 218 h 979"/>
              <a:gd name="T18" fmla="*/ 695 w 1227"/>
              <a:gd name="T19" fmla="*/ 207 h 979"/>
              <a:gd name="T20" fmla="*/ 638 w 1227"/>
              <a:gd name="T21" fmla="*/ 196 h 979"/>
              <a:gd name="T22" fmla="*/ 596 w 1227"/>
              <a:gd name="T23" fmla="*/ 201 h 979"/>
              <a:gd name="T24" fmla="*/ 570 w 1227"/>
              <a:gd name="T25" fmla="*/ 204 h 979"/>
              <a:gd name="T26" fmla="*/ 530 w 1227"/>
              <a:gd name="T27" fmla="*/ 195 h 979"/>
              <a:gd name="T28" fmla="*/ 505 w 1227"/>
              <a:gd name="T29" fmla="*/ 179 h 979"/>
              <a:gd name="T30" fmla="*/ 483 w 1227"/>
              <a:gd name="T31" fmla="*/ 128 h 979"/>
              <a:gd name="T32" fmla="*/ 465 w 1227"/>
              <a:gd name="T33" fmla="*/ 103 h 979"/>
              <a:gd name="T34" fmla="*/ 432 w 1227"/>
              <a:gd name="T35" fmla="*/ 81 h 979"/>
              <a:gd name="T36" fmla="*/ 365 w 1227"/>
              <a:gd name="T37" fmla="*/ 61 h 979"/>
              <a:gd name="T38" fmla="*/ 303 w 1227"/>
              <a:gd name="T39" fmla="*/ 32 h 979"/>
              <a:gd name="T40" fmla="*/ 214 w 1227"/>
              <a:gd name="T41" fmla="*/ 10 h 979"/>
              <a:gd name="T42" fmla="*/ 166 w 1227"/>
              <a:gd name="T43" fmla="*/ 38 h 979"/>
              <a:gd name="T44" fmla="*/ 151 w 1227"/>
              <a:gd name="T45" fmla="*/ 61 h 979"/>
              <a:gd name="T46" fmla="*/ 153 w 1227"/>
              <a:gd name="T47" fmla="*/ 90 h 979"/>
              <a:gd name="T48" fmla="*/ 169 w 1227"/>
              <a:gd name="T49" fmla="*/ 118 h 979"/>
              <a:gd name="T50" fmla="*/ 151 w 1227"/>
              <a:gd name="T51" fmla="*/ 150 h 979"/>
              <a:gd name="T52" fmla="*/ 95 w 1227"/>
              <a:gd name="T53" fmla="*/ 186 h 979"/>
              <a:gd name="T54" fmla="*/ 54 w 1227"/>
              <a:gd name="T55" fmla="*/ 190 h 979"/>
              <a:gd name="T56" fmla="*/ 9 w 1227"/>
              <a:gd name="T57" fmla="*/ 183 h 979"/>
              <a:gd name="T58" fmla="*/ 0 w 1227"/>
              <a:gd name="T59" fmla="*/ 236 h 979"/>
              <a:gd name="T60" fmla="*/ 9 w 1227"/>
              <a:gd name="T61" fmla="*/ 269 h 979"/>
              <a:gd name="T62" fmla="*/ 25 w 1227"/>
              <a:gd name="T63" fmla="*/ 282 h 979"/>
              <a:gd name="T64" fmla="*/ 40 w 1227"/>
              <a:gd name="T65" fmla="*/ 307 h 979"/>
              <a:gd name="T66" fmla="*/ 83 w 1227"/>
              <a:gd name="T67" fmla="*/ 364 h 979"/>
              <a:gd name="T68" fmla="*/ 102 w 1227"/>
              <a:gd name="T69" fmla="*/ 414 h 979"/>
              <a:gd name="T70" fmla="*/ 121 w 1227"/>
              <a:gd name="T71" fmla="*/ 427 h 979"/>
              <a:gd name="T72" fmla="*/ 133 w 1227"/>
              <a:gd name="T73" fmla="*/ 438 h 979"/>
              <a:gd name="T74" fmla="*/ 148 w 1227"/>
              <a:gd name="T75" fmla="*/ 469 h 979"/>
              <a:gd name="T76" fmla="*/ 224 w 1227"/>
              <a:gd name="T77" fmla="*/ 546 h 979"/>
              <a:gd name="T78" fmla="*/ 249 w 1227"/>
              <a:gd name="T79" fmla="*/ 585 h 979"/>
              <a:gd name="T80" fmla="*/ 256 w 1227"/>
              <a:gd name="T81" fmla="*/ 624 h 979"/>
              <a:gd name="T82" fmla="*/ 266 w 1227"/>
              <a:gd name="T83" fmla="*/ 659 h 979"/>
              <a:gd name="T84" fmla="*/ 299 w 1227"/>
              <a:gd name="T85" fmla="*/ 701 h 979"/>
              <a:gd name="T86" fmla="*/ 361 w 1227"/>
              <a:gd name="T87" fmla="*/ 761 h 979"/>
              <a:gd name="T88" fmla="*/ 388 w 1227"/>
              <a:gd name="T89" fmla="*/ 814 h 979"/>
              <a:gd name="T90" fmla="*/ 425 w 1227"/>
              <a:gd name="T91" fmla="*/ 867 h 979"/>
              <a:gd name="T92" fmla="*/ 483 w 1227"/>
              <a:gd name="T93" fmla="*/ 938 h 979"/>
              <a:gd name="T94" fmla="*/ 528 w 1227"/>
              <a:gd name="T95" fmla="*/ 979 h 979"/>
              <a:gd name="T96" fmla="*/ 543 w 1227"/>
              <a:gd name="T97" fmla="*/ 953 h 979"/>
              <a:gd name="T98" fmla="*/ 546 w 1227"/>
              <a:gd name="T99" fmla="*/ 909 h 979"/>
              <a:gd name="T100" fmla="*/ 570 w 1227"/>
              <a:gd name="T101" fmla="*/ 896 h 979"/>
              <a:gd name="T102" fmla="*/ 605 w 1227"/>
              <a:gd name="T103" fmla="*/ 895 h 979"/>
              <a:gd name="T104" fmla="*/ 660 w 1227"/>
              <a:gd name="T105" fmla="*/ 909 h 979"/>
              <a:gd name="T106" fmla="*/ 708 w 1227"/>
              <a:gd name="T107" fmla="*/ 943 h 979"/>
              <a:gd name="T108" fmla="*/ 787 w 1227"/>
              <a:gd name="T109" fmla="*/ 838 h 979"/>
              <a:gd name="T110" fmla="*/ 1199 w 1227"/>
              <a:gd name="T111" fmla="*/ 567 h 979"/>
              <a:gd name="T112" fmla="*/ 940 w 1227"/>
              <a:gd name="T113" fmla="*/ 468 h 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76" name="Freeform 528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>
              <a:gd name="T0" fmla="*/ 146 w 146"/>
              <a:gd name="T1" fmla="*/ 18 h 81"/>
              <a:gd name="T2" fmla="*/ 138 w 146"/>
              <a:gd name="T3" fmla="*/ 24 h 81"/>
              <a:gd name="T4" fmla="*/ 130 w 146"/>
              <a:gd name="T5" fmla="*/ 29 h 81"/>
              <a:gd name="T6" fmla="*/ 123 w 146"/>
              <a:gd name="T7" fmla="*/ 35 h 81"/>
              <a:gd name="T8" fmla="*/ 118 w 146"/>
              <a:gd name="T9" fmla="*/ 41 h 81"/>
              <a:gd name="T10" fmla="*/ 108 w 146"/>
              <a:gd name="T11" fmla="*/ 53 h 81"/>
              <a:gd name="T12" fmla="*/ 98 w 146"/>
              <a:gd name="T13" fmla="*/ 64 h 81"/>
              <a:gd name="T14" fmla="*/ 93 w 146"/>
              <a:gd name="T15" fmla="*/ 69 h 81"/>
              <a:gd name="T16" fmla="*/ 85 w 146"/>
              <a:gd name="T17" fmla="*/ 73 h 81"/>
              <a:gd name="T18" fmla="*/ 76 w 146"/>
              <a:gd name="T19" fmla="*/ 77 h 81"/>
              <a:gd name="T20" fmla="*/ 66 w 146"/>
              <a:gd name="T21" fmla="*/ 80 h 81"/>
              <a:gd name="T22" fmla="*/ 53 w 146"/>
              <a:gd name="T23" fmla="*/ 81 h 81"/>
              <a:gd name="T24" fmla="*/ 39 w 146"/>
              <a:gd name="T25" fmla="*/ 80 h 81"/>
              <a:gd name="T26" fmla="*/ 21 w 146"/>
              <a:gd name="T27" fmla="*/ 77 h 81"/>
              <a:gd name="T28" fmla="*/ 0 w 146"/>
              <a:gd name="T29" fmla="*/ 74 h 81"/>
              <a:gd name="T30" fmla="*/ 0 w 146"/>
              <a:gd name="T31" fmla="*/ 62 h 81"/>
              <a:gd name="T32" fmla="*/ 0 w 146"/>
              <a:gd name="T33" fmla="*/ 49 h 81"/>
              <a:gd name="T34" fmla="*/ 0 w 146"/>
              <a:gd name="T35" fmla="*/ 34 h 81"/>
              <a:gd name="T36" fmla="*/ 0 w 146"/>
              <a:gd name="T37" fmla="*/ 18 h 81"/>
              <a:gd name="T38" fmla="*/ 14 w 146"/>
              <a:gd name="T39" fmla="*/ 18 h 81"/>
              <a:gd name="T40" fmla="*/ 22 w 146"/>
              <a:gd name="T41" fmla="*/ 18 h 81"/>
              <a:gd name="T42" fmla="*/ 31 w 146"/>
              <a:gd name="T43" fmla="*/ 18 h 81"/>
              <a:gd name="T44" fmla="*/ 40 w 146"/>
              <a:gd name="T45" fmla="*/ 18 h 81"/>
              <a:gd name="T46" fmla="*/ 52 w 146"/>
              <a:gd name="T47" fmla="*/ 18 h 81"/>
              <a:gd name="T48" fmla="*/ 63 w 146"/>
              <a:gd name="T49" fmla="*/ 16 h 81"/>
              <a:gd name="T50" fmla="*/ 73 w 146"/>
              <a:gd name="T51" fmla="*/ 14 h 81"/>
              <a:gd name="T52" fmla="*/ 83 w 146"/>
              <a:gd name="T53" fmla="*/ 11 h 81"/>
              <a:gd name="T54" fmla="*/ 101 w 146"/>
              <a:gd name="T55" fmla="*/ 5 h 81"/>
              <a:gd name="T56" fmla="*/ 120 w 146"/>
              <a:gd name="T57" fmla="*/ 0 h 81"/>
              <a:gd name="T58" fmla="*/ 129 w 146"/>
              <a:gd name="T59" fmla="*/ 4 h 81"/>
              <a:gd name="T60" fmla="*/ 135 w 146"/>
              <a:gd name="T61" fmla="*/ 9 h 81"/>
              <a:gd name="T62" fmla="*/ 141 w 146"/>
              <a:gd name="T63" fmla="*/ 14 h 81"/>
              <a:gd name="T64" fmla="*/ 146 w 146"/>
              <a:gd name="T65" fmla="*/ 18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77" name="Freeform 529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>
              <a:gd name="T0" fmla="*/ 34 w 34"/>
              <a:gd name="T1" fmla="*/ 49 h 49"/>
              <a:gd name="T2" fmla="*/ 34 w 34"/>
              <a:gd name="T3" fmla="*/ 34 h 49"/>
              <a:gd name="T4" fmla="*/ 34 w 34"/>
              <a:gd name="T5" fmla="*/ 25 h 49"/>
              <a:gd name="T6" fmla="*/ 33 w 34"/>
              <a:gd name="T7" fmla="*/ 21 h 49"/>
              <a:gd name="T8" fmla="*/ 33 w 34"/>
              <a:gd name="T9" fmla="*/ 17 h 49"/>
              <a:gd name="T10" fmla="*/ 31 w 34"/>
              <a:gd name="T11" fmla="*/ 15 h 49"/>
              <a:gd name="T12" fmla="*/ 30 w 34"/>
              <a:gd name="T13" fmla="*/ 12 h 49"/>
              <a:gd name="T14" fmla="*/ 25 w 34"/>
              <a:gd name="T15" fmla="*/ 8 h 49"/>
              <a:gd name="T16" fmla="*/ 21 w 34"/>
              <a:gd name="T17" fmla="*/ 0 h 49"/>
              <a:gd name="T18" fmla="*/ 8 w 34"/>
              <a:gd name="T19" fmla="*/ 0 h 49"/>
              <a:gd name="T20" fmla="*/ 0 w 34"/>
              <a:gd name="T21" fmla="*/ 0 h 49"/>
              <a:gd name="T22" fmla="*/ 3 w 34"/>
              <a:gd name="T23" fmla="*/ 11 h 49"/>
              <a:gd name="T24" fmla="*/ 7 w 34"/>
              <a:gd name="T25" fmla="*/ 20 h 49"/>
              <a:gd name="T26" fmla="*/ 10 w 34"/>
              <a:gd name="T27" fmla="*/ 27 h 49"/>
              <a:gd name="T28" fmla="*/ 14 w 34"/>
              <a:gd name="T29" fmla="*/ 34 h 49"/>
              <a:gd name="T30" fmla="*/ 19 w 34"/>
              <a:gd name="T31" fmla="*/ 39 h 49"/>
              <a:gd name="T32" fmla="*/ 24 w 34"/>
              <a:gd name="T33" fmla="*/ 43 h 49"/>
              <a:gd name="T34" fmla="*/ 29 w 34"/>
              <a:gd name="T35" fmla="*/ 46 h 49"/>
              <a:gd name="T36" fmla="*/ 34 w 34"/>
              <a:gd name="T37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78" name="Freeform 530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>
              <a:gd name="T0" fmla="*/ 60 w 60"/>
              <a:gd name="T1" fmla="*/ 0 h 74"/>
              <a:gd name="T2" fmla="*/ 56 w 60"/>
              <a:gd name="T3" fmla="*/ 4 h 74"/>
              <a:gd name="T4" fmla="*/ 51 w 60"/>
              <a:gd name="T5" fmla="*/ 10 h 74"/>
              <a:gd name="T6" fmla="*/ 48 w 60"/>
              <a:gd name="T7" fmla="*/ 15 h 74"/>
              <a:gd name="T8" fmla="*/ 46 w 60"/>
              <a:gd name="T9" fmla="*/ 21 h 74"/>
              <a:gd name="T10" fmla="*/ 41 w 60"/>
              <a:gd name="T11" fmla="*/ 31 h 74"/>
              <a:gd name="T12" fmla="*/ 37 w 60"/>
              <a:gd name="T13" fmla="*/ 42 h 74"/>
              <a:gd name="T14" fmla="*/ 35 w 60"/>
              <a:gd name="T15" fmla="*/ 47 h 74"/>
              <a:gd name="T16" fmla="*/ 32 w 60"/>
              <a:gd name="T17" fmla="*/ 51 h 74"/>
              <a:gd name="T18" fmla="*/ 29 w 60"/>
              <a:gd name="T19" fmla="*/ 56 h 74"/>
              <a:gd name="T20" fmla="*/ 25 w 60"/>
              <a:gd name="T21" fmla="*/ 60 h 74"/>
              <a:gd name="T22" fmla="*/ 20 w 60"/>
              <a:gd name="T23" fmla="*/ 65 h 74"/>
              <a:gd name="T24" fmla="*/ 15 w 60"/>
              <a:gd name="T25" fmla="*/ 69 h 74"/>
              <a:gd name="T26" fmla="*/ 8 w 60"/>
              <a:gd name="T27" fmla="*/ 72 h 74"/>
              <a:gd name="T28" fmla="*/ 0 w 60"/>
              <a:gd name="T29" fmla="*/ 74 h 74"/>
              <a:gd name="T30" fmla="*/ 5 w 60"/>
              <a:gd name="T31" fmla="*/ 60 h 74"/>
              <a:gd name="T32" fmla="*/ 12 w 60"/>
              <a:gd name="T33" fmla="*/ 47 h 74"/>
              <a:gd name="T34" fmla="*/ 19 w 60"/>
              <a:gd name="T35" fmla="*/ 34 h 74"/>
              <a:gd name="T36" fmla="*/ 27 w 60"/>
              <a:gd name="T37" fmla="*/ 23 h 74"/>
              <a:gd name="T38" fmla="*/ 36 w 60"/>
              <a:gd name="T39" fmla="*/ 14 h 74"/>
              <a:gd name="T40" fmla="*/ 43 w 60"/>
              <a:gd name="T41" fmla="*/ 6 h 74"/>
              <a:gd name="T42" fmla="*/ 48 w 60"/>
              <a:gd name="T43" fmla="*/ 3 h 74"/>
              <a:gd name="T44" fmla="*/ 52 w 60"/>
              <a:gd name="T45" fmla="*/ 1 h 74"/>
              <a:gd name="T46" fmla="*/ 56 w 60"/>
              <a:gd name="T47" fmla="*/ 0 h 74"/>
              <a:gd name="T48" fmla="*/ 60 w 60"/>
              <a:gd name="T49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79" name="Freeform 531"/>
          <p:cNvSpPr>
            <a:spLocks/>
          </p:cNvSpPr>
          <p:nvPr>
            <p:custDataLst>
              <p:tags r:id="rId362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>
              <a:gd name="T0" fmla="*/ 13 w 47"/>
              <a:gd name="T1" fmla="*/ 8 h 45"/>
              <a:gd name="T2" fmla="*/ 22 w 47"/>
              <a:gd name="T3" fmla="*/ 8 h 45"/>
              <a:gd name="T4" fmla="*/ 28 w 47"/>
              <a:gd name="T5" fmla="*/ 6 h 45"/>
              <a:gd name="T6" fmla="*/ 32 w 47"/>
              <a:gd name="T7" fmla="*/ 5 h 45"/>
              <a:gd name="T8" fmla="*/ 35 w 47"/>
              <a:gd name="T9" fmla="*/ 3 h 45"/>
              <a:gd name="T10" fmla="*/ 37 w 47"/>
              <a:gd name="T11" fmla="*/ 1 h 45"/>
              <a:gd name="T12" fmla="*/ 39 w 47"/>
              <a:gd name="T13" fmla="*/ 0 h 45"/>
              <a:gd name="T14" fmla="*/ 43 w 47"/>
              <a:gd name="T15" fmla="*/ 1 h 45"/>
              <a:gd name="T16" fmla="*/ 47 w 47"/>
              <a:gd name="T17" fmla="*/ 2 h 45"/>
              <a:gd name="T18" fmla="*/ 46 w 47"/>
              <a:gd name="T19" fmla="*/ 7 h 45"/>
              <a:gd name="T20" fmla="*/ 46 w 47"/>
              <a:gd name="T21" fmla="*/ 11 h 45"/>
              <a:gd name="T22" fmla="*/ 44 w 47"/>
              <a:gd name="T23" fmla="*/ 15 h 45"/>
              <a:gd name="T24" fmla="*/ 43 w 47"/>
              <a:gd name="T25" fmla="*/ 19 h 45"/>
              <a:gd name="T26" fmla="*/ 37 w 47"/>
              <a:gd name="T27" fmla="*/ 26 h 45"/>
              <a:gd name="T28" fmla="*/ 30 w 47"/>
              <a:gd name="T29" fmla="*/ 32 h 45"/>
              <a:gd name="T30" fmla="*/ 24 w 47"/>
              <a:gd name="T31" fmla="*/ 38 h 45"/>
              <a:gd name="T32" fmla="*/ 16 w 47"/>
              <a:gd name="T33" fmla="*/ 42 h 45"/>
              <a:gd name="T34" fmla="*/ 7 w 47"/>
              <a:gd name="T35" fmla="*/ 45 h 45"/>
              <a:gd name="T36" fmla="*/ 0 w 47"/>
              <a:gd name="T37" fmla="*/ 45 h 45"/>
              <a:gd name="T38" fmla="*/ 2 w 47"/>
              <a:gd name="T39" fmla="*/ 38 h 45"/>
              <a:gd name="T40" fmla="*/ 6 w 47"/>
              <a:gd name="T41" fmla="*/ 26 h 45"/>
              <a:gd name="T42" fmla="*/ 11 w 47"/>
              <a:gd name="T43" fmla="*/ 15 h 45"/>
              <a:gd name="T44" fmla="*/ 13 w 47"/>
              <a:gd name="T45" fmla="*/ 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80" name="Freeform 532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>
              <a:gd name="T0" fmla="*/ 6 w 26"/>
              <a:gd name="T1" fmla="*/ 36 h 36"/>
              <a:gd name="T2" fmla="*/ 5 w 26"/>
              <a:gd name="T3" fmla="*/ 30 h 36"/>
              <a:gd name="T4" fmla="*/ 3 w 26"/>
              <a:gd name="T5" fmla="*/ 20 h 36"/>
              <a:gd name="T6" fmla="*/ 1 w 26"/>
              <a:gd name="T7" fmla="*/ 10 h 36"/>
              <a:gd name="T8" fmla="*/ 0 w 26"/>
              <a:gd name="T9" fmla="*/ 0 h 36"/>
              <a:gd name="T10" fmla="*/ 26 w 26"/>
              <a:gd name="T11" fmla="*/ 0 h 36"/>
              <a:gd name="T12" fmla="*/ 25 w 26"/>
              <a:gd name="T13" fmla="*/ 12 h 36"/>
              <a:gd name="T14" fmla="*/ 24 w 26"/>
              <a:gd name="T15" fmla="*/ 23 h 36"/>
              <a:gd name="T16" fmla="*/ 23 w 26"/>
              <a:gd name="T17" fmla="*/ 27 h 36"/>
              <a:gd name="T18" fmla="*/ 23 w 26"/>
              <a:gd name="T19" fmla="*/ 31 h 36"/>
              <a:gd name="T20" fmla="*/ 24 w 26"/>
              <a:gd name="T21" fmla="*/ 34 h 36"/>
              <a:gd name="T22" fmla="*/ 26 w 26"/>
              <a:gd name="T23" fmla="*/ 36 h 36"/>
              <a:gd name="T24" fmla="*/ 6 w 26"/>
              <a:gd name="T25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81" name="Freeform 533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>
              <a:gd name="T0" fmla="*/ 26 w 405"/>
              <a:gd name="T1" fmla="*/ 162 h 302"/>
              <a:gd name="T2" fmla="*/ 28 w 405"/>
              <a:gd name="T3" fmla="*/ 156 h 302"/>
              <a:gd name="T4" fmla="*/ 30 w 405"/>
              <a:gd name="T5" fmla="*/ 154 h 302"/>
              <a:gd name="T6" fmla="*/ 28 w 405"/>
              <a:gd name="T7" fmla="*/ 151 h 302"/>
              <a:gd name="T8" fmla="*/ 18 w 405"/>
              <a:gd name="T9" fmla="*/ 143 h 302"/>
              <a:gd name="T10" fmla="*/ 6 w 405"/>
              <a:gd name="T11" fmla="*/ 127 h 302"/>
              <a:gd name="T12" fmla="*/ 2 w 405"/>
              <a:gd name="T13" fmla="*/ 116 h 302"/>
              <a:gd name="T14" fmla="*/ 5 w 405"/>
              <a:gd name="T15" fmla="*/ 112 h 302"/>
              <a:gd name="T16" fmla="*/ 6 w 405"/>
              <a:gd name="T17" fmla="*/ 104 h 302"/>
              <a:gd name="T18" fmla="*/ 17 w 405"/>
              <a:gd name="T19" fmla="*/ 97 h 302"/>
              <a:gd name="T20" fmla="*/ 34 w 405"/>
              <a:gd name="T21" fmla="*/ 93 h 302"/>
              <a:gd name="T22" fmla="*/ 47 w 405"/>
              <a:gd name="T23" fmla="*/ 88 h 302"/>
              <a:gd name="T24" fmla="*/ 57 w 405"/>
              <a:gd name="T25" fmla="*/ 82 h 302"/>
              <a:gd name="T26" fmla="*/ 67 w 405"/>
              <a:gd name="T27" fmla="*/ 70 h 302"/>
              <a:gd name="T28" fmla="*/ 75 w 405"/>
              <a:gd name="T29" fmla="*/ 52 h 302"/>
              <a:gd name="T30" fmla="*/ 84 w 405"/>
              <a:gd name="T31" fmla="*/ 47 h 302"/>
              <a:gd name="T32" fmla="*/ 95 w 405"/>
              <a:gd name="T33" fmla="*/ 52 h 302"/>
              <a:gd name="T34" fmla="*/ 117 w 405"/>
              <a:gd name="T35" fmla="*/ 54 h 302"/>
              <a:gd name="T36" fmla="*/ 169 w 405"/>
              <a:gd name="T37" fmla="*/ 46 h 302"/>
              <a:gd name="T38" fmla="*/ 212 w 405"/>
              <a:gd name="T39" fmla="*/ 43 h 302"/>
              <a:gd name="T40" fmla="*/ 234 w 405"/>
              <a:gd name="T41" fmla="*/ 41 h 302"/>
              <a:gd name="T42" fmla="*/ 264 w 405"/>
              <a:gd name="T43" fmla="*/ 35 h 302"/>
              <a:gd name="T44" fmla="*/ 318 w 405"/>
              <a:gd name="T45" fmla="*/ 17 h 302"/>
              <a:gd name="T46" fmla="*/ 359 w 405"/>
              <a:gd name="T47" fmla="*/ 4 h 302"/>
              <a:gd name="T48" fmla="*/ 372 w 405"/>
              <a:gd name="T49" fmla="*/ 3 h 302"/>
              <a:gd name="T50" fmla="*/ 385 w 405"/>
              <a:gd name="T51" fmla="*/ 3 h 302"/>
              <a:gd name="T52" fmla="*/ 398 w 405"/>
              <a:gd name="T53" fmla="*/ 1 h 302"/>
              <a:gd name="T54" fmla="*/ 395 w 405"/>
              <a:gd name="T55" fmla="*/ 8 h 302"/>
              <a:gd name="T56" fmla="*/ 360 w 405"/>
              <a:gd name="T57" fmla="*/ 41 h 302"/>
              <a:gd name="T58" fmla="*/ 344 w 405"/>
              <a:gd name="T59" fmla="*/ 57 h 302"/>
              <a:gd name="T60" fmla="*/ 339 w 405"/>
              <a:gd name="T61" fmla="*/ 64 h 302"/>
              <a:gd name="T62" fmla="*/ 339 w 405"/>
              <a:gd name="T63" fmla="*/ 96 h 302"/>
              <a:gd name="T64" fmla="*/ 337 w 405"/>
              <a:gd name="T65" fmla="*/ 149 h 302"/>
              <a:gd name="T66" fmla="*/ 335 w 405"/>
              <a:gd name="T67" fmla="*/ 180 h 302"/>
              <a:gd name="T68" fmla="*/ 326 w 405"/>
              <a:gd name="T69" fmla="*/ 198 h 302"/>
              <a:gd name="T70" fmla="*/ 305 w 405"/>
              <a:gd name="T71" fmla="*/ 210 h 302"/>
              <a:gd name="T72" fmla="*/ 265 w 405"/>
              <a:gd name="T73" fmla="*/ 227 h 302"/>
              <a:gd name="T74" fmla="*/ 106 w 405"/>
              <a:gd name="T75" fmla="*/ 302 h 302"/>
              <a:gd name="T76" fmla="*/ 57 w 405"/>
              <a:gd name="T77" fmla="*/ 260 h 302"/>
              <a:gd name="T78" fmla="*/ 70 w 405"/>
              <a:gd name="T79" fmla="*/ 228 h 302"/>
              <a:gd name="T80" fmla="*/ 81 w 405"/>
              <a:gd name="T81" fmla="*/ 209 h 302"/>
              <a:gd name="T82" fmla="*/ 86 w 405"/>
              <a:gd name="T83" fmla="*/ 172 h 302"/>
              <a:gd name="T84" fmla="*/ 71 w 405"/>
              <a:gd name="T85" fmla="*/ 173 h 302"/>
              <a:gd name="T86" fmla="*/ 57 w 405"/>
              <a:gd name="T87" fmla="*/ 169 h 302"/>
              <a:gd name="T88" fmla="*/ 41 w 405"/>
              <a:gd name="T89" fmla="*/ 165 h 302"/>
              <a:gd name="T90" fmla="*/ 26 w 405"/>
              <a:gd name="T91" fmla="*/ 16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82" name="Freeform 534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>
              <a:gd name="T0" fmla="*/ 100 w 100"/>
              <a:gd name="T1" fmla="*/ 1 h 155"/>
              <a:gd name="T2" fmla="*/ 100 w 100"/>
              <a:gd name="T3" fmla="*/ 30 h 155"/>
              <a:gd name="T4" fmla="*/ 100 w 100"/>
              <a:gd name="T5" fmla="*/ 55 h 155"/>
              <a:gd name="T6" fmla="*/ 100 w 100"/>
              <a:gd name="T7" fmla="*/ 78 h 155"/>
              <a:gd name="T8" fmla="*/ 100 w 100"/>
              <a:gd name="T9" fmla="*/ 99 h 155"/>
              <a:gd name="T10" fmla="*/ 98 w 100"/>
              <a:gd name="T11" fmla="*/ 109 h 155"/>
              <a:gd name="T12" fmla="*/ 94 w 100"/>
              <a:gd name="T13" fmla="*/ 118 h 155"/>
              <a:gd name="T14" fmla="*/ 89 w 100"/>
              <a:gd name="T15" fmla="*/ 128 h 155"/>
              <a:gd name="T16" fmla="*/ 82 w 100"/>
              <a:gd name="T17" fmla="*/ 137 h 155"/>
              <a:gd name="T18" fmla="*/ 73 w 100"/>
              <a:gd name="T19" fmla="*/ 144 h 155"/>
              <a:gd name="T20" fmla="*/ 62 w 100"/>
              <a:gd name="T21" fmla="*/ 150 h 155"/>
              <a:gd name="T22" fmla="*/ 57 w 100"/>
              <a:gd name="T23" fmla="*/ 152 h 155"/>
              <a:gd name="T24" fmla="*/ 51 w 100"/>
              <a:gd name="T25" fmla="*/ 154 h 155"/>
              <a:gd name="T26" fmla="*/ 46 w 100"/>
              <a:gd name="T27" fmla="*/ 155 h 155"/>
              <a:gd name="T28" fmla="*/ 39 w 100"/>
              <a:gd name="T29" fmla="*/ 155 h 155"/>
              <a:gd name="T30" fmla="*/ 35 w 100"/>
              <a:gd name="T31" fmla="*/ 154 h 155"/>
              <a:gd name="T32" fmla="*/ 30 w 100"/>
              <a:gd name="T33" fmla="*/ 153 h 155"/>
              <a:gd name="T34" fmla="*/ 26 w 100"/>
              <a:gd name="T35" fmla="*/ 151 h 155"/>
              <a:gd name="T36" fmla="*/ 22 w 100"/>
              <a:gd name="T37" fmla="*/ 149 h 155"/>
              <a:gd name="T38" fmla="*/ 15 w 100"/>
              <a:gd name="T39" fmla="*/ 142 h 155"/>
              <a:gd name="T40" fmla="*/ 9 w 100"/>
              <a:gd name="T41" fmla="*/ 134 h 155"/>
              <a:gd name="T42" fmla="*/ 5 w 100"/>
              <a:gd name="T43" fmla="*/ 124 h 155"/>
              <a:gd name="T44" fmla="*/ 2 w 100"/>
              <a:gd name="T45" fmla="*/ 113 h 155"/>
              <a:gd name="T46" fmla="*/ 0 w 100"/>
              <a:gd name="T47" fmla="*/ 103 h 155"/>
              <a:gd name="T48" fmla="*/ 0 w 100"/>
              <a:gd name="T49" fmla="*/ 93 h 155"/>
              <a:gd name="T50" fmla="*/ 0 w 100"/>
              <a:gd name="T51" fmla="*/ 77 h 155"/>
              <a:gd name="T52" fmla="*/ 0 w 100"/>
              <a:gd name="T53" fmla="*/ 65 h 155"/>
              <a:gd name="T54" fmla="*/ 0 w 100"/>
              <a:gd name="T55" fmla="*/ 56 h 155"/>
              <a:gd name="T56" fmla="*/ 0 w 100"/>
              <a:gd name="T57" fmla="*/ 50 h 155"/>
              <a:gd name="T58" fmla="*/ 15 w 100"/>
              <a:gd name="T59" fmla="*/ 50 h 155"/>
              <a:gd name="T60" fmla="*/ 26 w 100"/>
              <a:gd name="T61" fmla="*/ 50 h 155"/>
              <a:gd name="T62" fmla="*/ 26 w 100"/>
              <a:gd name="T63" fmla="*/ 40 h 155"/>
              <a:gd name="T64" fmla="*/ 27 w 100"/>
              <a:gd name="T65" fmla="*/ 31 h 155"/>
              <a:gd name="T66" fmla="*/ 29 w 100"/>
              <a:gd name="T67" fmla="*/ 23 h 155"/>
              <a:gd name="T68" fmla="*/ 31 w 100"/>
              <a:gd name="T69" fmla="*/ 17 h 155"/>
              <a:gd name="T70" fmla="*/ 35 w 100"/>
              <a:gd name="T71" fmla="*/ 12 h 155"/>
              <a:gd name="T72" fmla="*/ 39 w 100"/>
              <a:gd name="T73" fmla="*/ 7 h 155"/>
              <a:gd name="T74" fmla="*/ 42 w 100"/>
              <a:gd name="T75" fmla="*/ 4 h 155"/>
              <a:gd name="T76" fmla="*/ 48 w 100"/>
              <a:gd name="T77" fmla="*/ 2 h 155"/>
              <a:gd name="T78" fmla="*/ 59 w 100"/>
              <a:gd name="T79" fmla="*/ 0 h 155"/>
              <a:gd name="T80" fmla="*/ 71 w 100"/>
              <a:gd name="T81" fmla="*/ 0 h 155"/>
              <a:gd name="T82" fmla="*/ 84 w 100"/>
              <a:gd name="T83" fmla="*/ 0 h 155"/>
              <a:gd name="T84" fmla="*/ 100 w 100"/>
              <a:gd name="T85" fmla="*/ 1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grpSp>
        <p:nvGrpSpPr>
          <p:cNvPr id="2583" name="Group 535"/>
          <p:cNvGrpSpPr>
            <a:grpSpLocks/>
          </p:cNvGrpSpPr>
          <p:nvPr>
            <p:custDataLst>
              <p:tags r:id="rId366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  <a:solidFill>
            <a:schemeClr val="accent2"/>
          </a:solidFill>
        </p:grpSpPr>
        <p:sp>
          <p:nvSpPr>
            <p:cNvPr id="2584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3 w 13"/>
                <a:gd name="T1" fmla="*/ 0 h 7"/>
                <a:gd name="T2" fmla="*/ 12 w 13"/>
                <a:gd name="T3" fmla="*/ 1 h 7"/>
                <a:gd name="T4" fmla="*/ 9 w 13"/>
                <a:gd name="T5" fmla="*/ 3 h 7"/>
                <a:gd name="T6" fmla="*/ 4 w 13"/>
                <a:gd name="T7" fmla="*/ 5 h 7"/>
                <a:gd name="T8" fmla="*/ 0 w 13"/>
                <a:gd name="T9" fmla="*/ 7 h 7"/>
                <a:gd name="T10" fmla="*/ 7 w 13"/>
                <a:gd name="T11" fmla="*/ 3 h 7"/>
                <a:gd name="T12" fmla="*/ 13 w 1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85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6 h 8"/>
                <a:gd name="T2" fmla="*/ 7 w 34"/>
                <a:gd name="T3" fmla="*/ 5 h 8"/>
                <a:gd name="T4" fmla="*/ 15 w 34"/>
                <a:gd name="T5" fmla="*/ 3 h 8"/>
                <a:gd name="T6" fmla="*/ 25 w 34"/>
                <a:gd name="T7" fmla="*/ 1 h 8"/>
                <a:gd name="T8" fmla="*/ 34 w 34"/>
                <a:gd name="T9" fmla="*/ 0 h 8"/>
                <a:gd name="T10" fmla="*/ 31 w 34"/>
                <a:gd name="T11" fmla="*/ 2 h 8"/>
                <a:gd name="T12" fmla="*/ 27 w 34"/>
                <a:gd name="T13" fmla="*/ 4 h 8"/>
                <a:gd name="T14" fmla="*/ 22 w 34"/>
                <a:gd name="T15" fmla="*/ 6 h 8"/>
                <a:gd name="T16" fmla="*/ 18 w 34"/>
                <a:gd name="T17" fmla="*/ 7 h 8"/>
                <a:gd name="T18" fmla="*/ 12 w 34"/>
                <a:gd name="T19" fmla="*/ 8 h 8"/>
                <a:gd name="T20" fmla="*/ 8 w 34"/>
                <a:gd name="T21" fmla="*/ 8 h 8"/>
                <a:gd name="T22" fmla="*/ 4 w 34"/>
                <a:gd name="T23" fmla="*/ 8 h 8"/>
                <a:gd name="T24" fmla="*/ 0 w 34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86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24 h 24"/>
                <a:gd name="T2" fmla="*/ 0 w 13"/>
                <a:gd name="T3" fmla="*/ 0 h 24"/>
                <a:gd name="T4" fmla="*/ 13 w 13"/>
                <a:gd name="T5" fmla="*/ 12 h 24"/>
                <a:gd name="T6" fmla="*/ 0 w 1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87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3 h 69"/>
                <a:gd name="T2" fmla="*/ 0 w 107"/>
                <a:gd name="T3" fmla="*/ 27 h 69"/>
                <a:gd name="T4" fmla="*/ 0 w 107"/>
                <a:gd name="T5" fmla="*/ 45 h 69"/>
                <a:gd name="T6" fmla="*/ 0 w 107"/>
                <a:gd name="T7" fmla="*/ 62 h 69"/>
                <a:gd name="T8" fmla="*/ 0 w 107"/>
                <a:gd name="T9" fmla="*/ 69 h 69"/>
                <a:gd name="T10" fmla="*/ 16 w 107"/>
                <a:gd name="T11" fmla="*/ 66 h 69"/>
                <a:gd name="T12" fmla="*/ 49 w 107"/>
                <a:gd name="T13" fmla="*/ 58 h 69"/>
                <a:gd name="T14" fmla="*/ 85 w 107"/>
                <a:gd name="T15" fmla="*/ 50 h 69"/>
                <a:gd name="T16" fmla="*/ 107 w 107"/>
                <a:gd name="T17" fmla="*/ 44 h 69"/>
                <a:gd name="T18" fmla="*/ 101 w 107"/>
                <a:gd name="T19" fmla="*/ 38 h 69"/>
                <a:gd name="T20" fmla="*/ 94 w 107"/>
                <a:gd name="T21" fmla="*/ 34 h 69"/>
                <a:gd name="T22" fmla="*/ 86 w 107"/>
                <a:gd name="T23" fmla="*/ 30 h 69"/>
                <a:gd name="T24" fmla="*/ 78 w 107"/>
                <a:gd name="T25" fmla="*/ 27 h 69"/>
                <a:gd name="T26" fmla="*/ 72 w 107"/>
                <a:gd name="T27" fmla="*/ 23 h 69"/>
                <a:gd name="T28" fmla="*/ 65 w 107"/>
                <a:gd name="T29" fmla="*/ 18 h 69"/>
                <a:gd name="T30" fmla="*/ 63 w 107"/>
                <a:gd name="T31" fmla="*/ 15 h 69"/>
                <a:gd name="T32" fmla="*/ 62 w 107"/>
                <a:gd name="T33" fmla="*/ 11 h 69"/>
                <a:gd name="T34" fmla="*/ 61 w 107"/>
                <a:gd name="T35" fmla="*/ 7 h 69"/>
                <a:gd name="T36" fmla="*/ 61 w 107"/>
                <a:gd name="T37" fmla="*/ 0 h 69"/>
                <a:gd name="T38" fmla="*/ 54 w 107"/>
                <a:gd name="T39" fmla="*/ 1 h 69"/>
                <a:gd name="T40" fmla="*/ 38 w 107"/>
                <a:gd name="T41" fmla="*/ 4 h 69"/>
                <a:gd name="T42" fmla="*/ 18 w 107"/>
                <a:gd name="T43" fmla="*/ 9 h 69"/>
                <a:gd name="T44" fmla="*/ 0 w 107"/>
                <a:gd name="T45" fmla="*/ 1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>
                <a:latin typeface="Andale Mono" charset="0"/>
                <a:ea typeface="Andale Mono" charset="0"/>
                <a:cs typeface="Andale Mono" charset="0"/>
              </a:endParaRPr>
            </a:p>
          </p:txBody>
        </p:sp>
        <p:sp>
          <p:nvSpPr>
            <p:cNvPr id="2588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992 w 1070"/>
                <a:gd name="T1" fmla="*/ 124 h 382"/>
                <a:gd name="T2" fmla="*/ 970 w 1070"/>
                <a:gd name="T3" fmla="*/ 103 h 382"/>
                <a:gd name="T4" fmla="*/ 962 w 1070"/>
                <a:gd name="T5" fmla="*/ 57 h 382"/>
                <a:gd name="T6" fmla="*/ 936 w 1070"/>
                <a:gd name="T7" fmla="*/ 36 h 382"/>
                <a:gd name="T8" fmla="*/ 817 w 1070"/>
                <a:gd name="T9" fmla="*/ 19 h 382"/>
                <a:gd name="T10" fmla="*/ 726 w 1070"/>
                <a:gd name="T11" fmla="*/ 58 h 382"/>
                <a:gd name="T12" fmla="*/ 678 w 1070"/>
                <a:gd name="T13" fmla="*/ 65 h 382"/>
                <a:gd name="T14" fmla="*/ 632 w 1070"/>
                <a:gd name="T15" fmla="*/ 65 h 382"/>
                <a:gd name="T16" fmla="*/ 612 w 1070"/>
                <a:gd name="T17" fmla="*/ 44 h 382"/>
                <a:gd name="T18" fmla="*/ 560 w 1070"/>
                <a:gd name="T19" fmla="*/ 37 h 382"/>
                <a:gd name="T20" fmla="*/ 525 w 1070"/>
                <a:gd name="T21" fmla="*/ 19 h 382"/>
                <a:gd name="T22" fmla="*/ 483 w 1070"/>
                <a:gd name="T23" fmla="*/ 21 h 382"/>
                <a:gd name="T24" fmla="*/ 465 w 1070"/>
                <a:gd name="T25" fmla="*/ 0 h 382"/>
                <a:gd name="T26" fmla="*/ 390 w 1070"/>
                <a:gd name="T27" fmla="*/ 16 h 382"/>
                <a:gd name="T28" fmla="*/ 299 w 1070"/>
                <a:gd name="T29" fmla="*/ 26 h 382"/>
                <a:gd name="T30" fmla="*/ 257 w 1070"/>
                <a:gd name="T31" fmla="*/ 45 h 382"/>
                <a:gd name="T32" fmla="*/ 138 w 1070"/>
                <a:gd name="T33" fmla="*/ 61 h 382"/>
                <a:gd name="T34" fmla="*/ 173 w 1070"/>
                <a:gd name="T35" fmla="*/ 75 h 382"/>
                <a:gd name="T36" fmla="*/ 164 w 1070"/>
                <a:gd name="T37" fmla="*/ 90 h 382"/>
                <a:gd name="T38" fmla="*/ 114 w 1070"/>
                <a:gd name="T39" fmla="*/ 93 h 382"/>
                <a:gd name="T40" fmla="*/ 42 w 1070"/>
                <a:gd name="T41" fmla="*/ 94 h 382"/>
                <a:gd name="T42" fmla="*/ 8 w 1070"/>
                <a:gd name="T43" fmla="*/ 110 h 382"/>
                <a:gd name="T44" fmla="*/ 0 w 1070"/>
                <a:gd name="T45" fmla="*/ 147 h 382"/>
                <a:gd name="T46" fmla="*/ 16 w 1070"/>
                <a:gd name="T47" fmla="*/ 167 h 382"/>
                <a:gd name="T48" fmla="*/ 22 w 1070"/>
                <a:gd name="T49" fmla="*/ 193 h 382"/>
                <a:gd name="T50" fmla="*/ 21 w 1070"/>
                <a:gd name="T51" fmla="*/ 210 h 382"/>
                <a:gd name="T52" fmla="*/ 49 w 1070"/>
                <a:gd name="T53" fmla="*/ 237 h 382"/>
                <a:gd name="T54" fmla="*/ 56 w 1070"/>
                <a:gd name="T55" fmla="*/ 259 h 382"/>
                <a:gd name="T56" fmla="*/ 74 w 1070"/>
                <a:gd name="T57" fmla="*/ 271 h 382"/>
                <a:gd name="T58" fmla="*/ 96 w 1070"/>
                <a:gd name="T59" fmla="*/ 290 h 382"/>
                <a:gd name="T60" fmla="*/ 205 w 1070"/>
                <a:gd name="T61" fmla="*/ 352 h 382"/>
                <a:gd name="T62" fmla="*/ 253 w 1070"/>
                <a:gd name="T63" fmla="*/ 370 h 382"/>
                <a:gd name="T64" fmla="*/ 267 w 1070"/>
                <a:gd name="T65" fmla="*/ 358 h 382"/>
                <a:gd name="T66" fmla="*/ 277 w 1070"/>
                <a:gd name="T67" fmla="*/ 338 h 382"/>
                <a:gd name="T68" fmla="*/ 297 w 1070"/>
                <a:gd name="T69" fmla="*/ 316 h 382"/>
                <a:gd name="T70" fmla="*/ 334 w 1070"/>
                <a:gd name="T71" fmla="*/ 323 h 382"/>
                <a:gd name="T72" fmla="*/ 362 w 1070"/>
                <a:gd name="T73" fmla="*/ 358 h 382"/>
                <a:gd name="T74" fmla="*/ 399 w 1070"/>
                <a:gd name="T75" fmla="*/ 370 h 382"/>
                <a:gd name="T76" fmla="*/ 447 w 1070"/>
                <a:gd name="T77" fmla="*/ 359 h 382"/>
                <a:gd name="T78" fmla="*/ 493 w 1070"/>
                <a:gd name="T79" fmla="*/ 335 h 382"/>
                <a:gd name="T80" fmla="*/ 525 w 1070"/>
                <a:gd name="T81" fmla="*/ 327 h 382"/>
                <a:gd name="T82" fmla="*/ 564 w 1070"/>
                <a:gd name="T83" fmla="*/ 326 h 382"/>
                <a:gd name="T84" fmla="*/ 567 w 1070"/>
                <a:gd name="T85" fmla="*/ 367 h 382"/>
                <a:gd name="T86" fmla="*/ 590 w 1070"/>
                <a:gd name="T87" fmla="*/ 377 h 382"/>
                <a:gd name="T88" fmla="*/ 613 w 1070"/>
                <a:gd name="T89" fmla="*/ 362 h 382"/>
                <a:gd name="T90" fmla="*/ 647 w 1070"/>
                <a:gd name="T91" fmla="*/ 336 h 382"/>
                <a:gd name="T92" fmla="*/ 752 w 1070"/>
                <a:gd name="T93" fmla="*/ 327 h 382"/>
                <a:gd name="T94" fmla="*/ 831 w 1070"/>
                <a:gd name="T95" fmla="*/ 315 h 382"/>
                <a:gd name="T96" fmla="*/ 918 w 1070"/>
                <a:gd name="T97" fmla="*/ 283 h 382"/>
                <a:gd name="T98" fmla="*/ 967 w 1070"/>
                <a:gd name="T99" fmla="*/ 286 h 382"/>
                <a:gd name="T100" fmla="*/ 1005 w 1070"/>
                <a:gd name="T101" fmla="*/ 293 h 382"/>
                <a:gd name="T102" fmla="*/ 1056 w 1070"/>
                <a:gd name="T103" fmla="*/ 308 h 382"/>
                <a:gd name="T104" fmla="*/ 1056 w 1070"/>
                <a:gd name="T105" fmla="*/ 268 h 382"/>
                <a:gd name="T106" fmla="*/ 1026 w 1070"/>
                <a:gd name="T107" fmla="*/ 219 h 382"/>
                <a:gd name="T108" fmla="*/ 1017 w 1070"/>
                <a:gd name="T109" fmla="*/ 167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 lang="de-DE" sz="300" dirty="0">
                <a:latin typeface="Andale Mono" charset="0"/>
                <a:ea typeface="Andale Mono" charset="0"/>
                <a:cs typeface="Andale Mono" charset="0"/>
              </a:endParaRPr>
            </a:p>
          </p:txBody>
        </p:sp>
      </p:grpSp>
      <p:sp>
        <p:nvSpPr>
          <p:cNvPr id="2589" name="Freeform 54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>
              <a:gd name="T0" fmla="*/ 63 w 226"/>
              <a:gd name="T1" fmla="*/ 236 h 237"/>
              <a:gd name="T2" fmla="*/ 68 w 226"/>
              <a:gd name="T3" fmla="*/ 237 h 237"/>
              <a:gd name="T4" fmla="*/ 75 w 226"/>
              <a:gd name="T5" fmla="*/ 235 h 237"/>
              <a:gd name="T6" fmla="*/ 83 w 226"/>
              <a:gd name="T7" fmla="*/ 234 h 237"/>
              <a:gd name="T8" fmla="*/ 89 w 226"/>
              <a:gd name="T9" fmla="*/ 230 h 237"/>
              <a:gd name="T10" fmla="*/ 96 w 226"/>
              <a:gd name="T11" fmla="*/ 223 h 237"/>
              <a:gd name="T12" fmla="*/ 99 w 226"/>
              <a:gd name="T13" fmla="*/ 214 h 237"/>
              <a:gd name="T14" fmla="*/ 123 w 226"/>
              <a:gd name="T15" fmla="*/ 209 h 237"/>
              <a:gd name="T16" fmla="*/ 166 w 226"/>
              <a:gd name="T17" fmla="*/ 205 h 237"/>
              <a:gd name="T18" fmla="*/ 195 w 226"/>
              <a:gd name="T19" fmla="*/ 198 h 237"/>
              <a:gd name="T20" fmla="*/ 209 w 226"/>
              <a:gd name="T21" fmla="*/ 191 h 237"/>
              <a:gd name="T22" fmla="*/ 220 w 226"/>
              <a:gd name="T23" fmla="*/ 181 h 237"/>
              <a:gd name="T24" fmla="*/ 225 w 226"/>
              <a:gd name="T25" fmla="*/ 168 h 237"/>
              <a:gd name="T26" fmla="*/ 226 w 226"/>
              <a:gd name="T27" fmla="*/ 153 h 237"/>
              <a:gd name="T28" fmla="*/ 223 w 226"/>
              <a:gd name="T29" fmla="*/ 140 h 237"/>
              <a:gd name="T30" fmla="*/ 215 w 226"/>
              <a:gd name="T31" fmla="*/ 123 h 237"/>
              <a:gd name="T32" fmla="*/ 203 w 226"/>
              <a:gd name="T33" fmla="*/ 100 h 237"/>
              <a:gd name="T34" fmla="*/ 196 w 226"/>
              <a:gd name="T35" fmla="*/ 84 h 237"/>
              <a:gd name="T36" fmla="*/ 193 w 226"/>
              <a:gd name="T37" fmla="*/ 74 h 237"/>
              <a:gd name="T38" fmla="*/ 195 w 226"/>
              <a:gd name="T39" fmla="*/ 59 h 237"/>
              <a:gd name="T40" fmla="*/ 200 w 226"/>
              <a:gd name="T41" fmla="*/ 43 h 237"/>
              <a:gd name="T42" fmla="*/ 213 w 226"/>
              <a:gd name="T43" fmla="*/ 25 h 237"/>
              <a:gd name="T44" fmla="*/ 213 w 226"/>
              <a:gd name="T45" fmla="*/ 14 h 237"/>
              <a:gd name="T46" fmla="*/ 191 w 226"/>
              <a:gd name="T47" fmla="*/ 7 h 237"/>
              <a:gd name="T48" fmla="*/ 154 w 226"/>
              <a:gd name="T49" fmla="*/ 2 h 237"/>
              <a:gd name="T50" fmla="*/ 20 w 226"/>
              <a:gd name="T51" fmla="*/ 6 h 237"/>
              <a:gd name="T52" fmla="*/ 18 w 226"/>
              <a:gd name="T53" fmla="*/ 31 h 237"/>
              <a:gd name="T54" fmla="*/ 10 w 226"/>
              <a:gd name="T55" fmla="*/ 54 h 237"/>
              <a:gd name="T56" fmla="*/ 3 w 226"/>
              <a:gd name="T57" fmla="*/ 79 h 237"/>
              <a:gd name="T58" fmla="*/ 0 w 226"/>
              <a:gd name="T59" fmla="*/ 111 h 237"/>
              <a:gd name="T60" fmla="*/ 3 w 226"/>
              <a:gd name="T61" fmla="*/ 130 h 237"/>
              <a:gd name="T62" fmla="*/ 10 w 226"/>
              <a:gd name="T63" fmla="*/ 146 h 237"/>
              <a:gd name="T64" fmla="*/ 30 w 226"/>
              <a:gd name="T65" fmla="*/ 173 h 237"/>
              <a:gd name="T66" fmla="*/ 51 w 226"/>
              <a:gd name="T67" fmla="*/ 199 h 237"/>
              <a:gd name="T68" fmla="*/ 57 w 226"/>
              <a:gd name="T69" fmla="*/ 216 h 237"/>
              <a:gd name="T70" fmla="*/ 61 w 226"/>
              <a:gd name="T71" fmla="*/ 234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90" name="Freeform 54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>
              <a:gd name="T0" fmla="*/ 287 w 478"/>
              <a:gd name="T1" fmla="*/ 109 h 875"/>
              <a:gd name="T2" fmla="*/ 250 w 478"/>
              <a:gd name="T3" fmla="*/ 138 h 875"/>
              <a:gd name="T4" fmla="*/ 199 w 478"/>
              <a:gd name="T5" fmla="*/ 197 h 875"/>
              <a:gd name="T6" fmla="*/ 198 w 478"/>
              <a:gd name="T7" fmla="*/ 213 h 875"/>
              <a:gd name="T8" fmla="*/ 206 w 478"/>
              <a:gd name="T9" fmla="*/ 239 h 875"/>
              <a:gd name="T10" fmla="*/ 221 w 478"/>
              <a:gd name="T11" fmla="*/ 265 h 875"/>
              <a:gd name="T12" fmla="*/ 240 w 478"/>
              <a:gd name="T13" fmla="*/ 288 h 875"/>
              <a:gd name="T14" fmla="*/ 259 w 478"/>
              <a:gd name="T15" fmla="*/ 301 h 875"/>
              <a:gd name="T16" fmla="*/ 279 w 478"/>
              <a:gd name="T17" fmla="*/ 329 h 875"/>
              <a:gd name="T18" fmla="*/ 295 w 478"/>
              <a:gd name="T19" fmla="*/ 361 h 875"/>
              <a:gd name="T20" fmla="*/ 305 w 478"/>
              <a:gd name="T21" fmla="*/ 369 h 875"/>
              <a:gd name="T22" fmla="*/ 438 w 478"/>
              <a:gd name="T23" fmla="*/ 499 h 875"/>
              <a:gd name="T24" fmla="*/ 471 w 478"/>
              <a:gd name="T25" fmla="*/ 589 h 875"/>
              <a:gd name="T26" fmla="*/ 478 w 478"/>
              <a:gd name="T27" fmla="*/ 647 h 875"/>
              <a:gd name="T28" fmla="*/ 476 w 478"/>
              <a:gd name="T29" fmla="*/ 687 h 875"/>
              <a:gd name="T30" fmla="*/ 478 w 478"/>
              <a:gd name="T31" fmla="*/ 708 h 875"/>
              <a:gd name="T32" fmla="*/ 447 w 478"/>
              <a:gd name="T33" fmla="*/ 718 h 875"/>
              <a:gd name="T34" fmla="*/ 420 w 478"/>
              <a:gd name="T35" fmla="*/ 733 h 875"/>
              <a:gd name="T36" fmla="*/ 391 w 478"/>
              <a:gd name="T37" fmla="*/ 756 h 875"/>
              <a:gd name="T38" fmla="*/ 365 w 478"/>
              <a:gd name="T39" fmla="*/ 789 h 875"/>
              <a:gd name="T40" fmla="*/ 348 w 478"/>
              <a:gd name="T41" fmla="*/ 785 h 875"/>
              <a:gd name="T42" fmla="*/ 319 w 478"/>
              <a:gd name="T43" fmla="*/ 789 h 875"/>
              <a:gd name="T44" fmla="*/ 313 w 478"/>
              <a:gd name="T45" fmla="*/ 804 h 875"/>
              <a:gd name="T46" fmla="*/ 289 w 478"/>
              <a:gd name="T47" fmla="*/ 838 h 875"/>
              <a:gd name="T48" fmla="*/ 256 w 478"/>
              <a:gd name="T49" fmla="*/ 868 h 875"/>
              <a:gd name="T50" fmla="*/ 239 w 478"/>
              <a:gd name="T51" fmla="*/ 875 h 875"/>
              <a:gd name="T52" fmla="*/ 232 w 478"/>
              <a:gd name="T53" fmla="*/ 868 h 875"/>
              <a:gd name="T54" fmla="*/ 225 w 478"/>
              <a:gd name="T55" fmla="*/ 844 h 875"/>
              <a:gd name="T56" fmla="*/ 231 w 478"/>
              <a:gd name="T57" fmla="*/ 800 h 875"/>
              <a:gd name="T58" fmla="*/ 253 w 478"/>
              <a:gd name="T59" fmla="*/ 775 h 875"/>
              <a:gd name="T60" fmla="*/ 277 w 478"/>
              <a:gd name="T61" fmla="*/ 760 h 875"/>
              <a:gd name="T62" fmla="*/ 295 w 478"/>
              <a:gd name="T63" fmla="*/ 753 h 875"/>
              <a:gd name="T64" fmla="*/ 305 w 478"/>
              <a:gd name="T65" fmla="*/ 743 h 875"/>
              <a:gd name="T66" fmla="*/ 314 w 478"/>
              <a:gd name="T67" fmla="*/ 714 h 875"/>
              <a:gd name="T68" fmla="*/ 330 w 478"/>
              <a:gd name="T69" fmla="*/ 686 h 875"/>
              <a:gd name="T70" fmla="*/ 365 w 478"/>
              <a:gd name="T71" fmla="*/ 643 h 875"/>
              <a:gd name="T72" fmla="*/ 371 w 478"/>
              <a:gd name="T73" fmla="*/ 536 h 875"/>
              <a:gd name="T74" fmla="*/ 364 w 478"/>
              <a:gd name="T75" fmla="*/ 475 h 875"/>
              <a:gd name="T76" fmla="*/ 341 w 478"/>
              <a:gd name="T77" fmla="*/ 427 h 875"/>
              <a:gd name="T78" fmla="*/ 297 w 478"/>
              <a:gd name="T79" fmla="*/ 377 h 875"/>
              <a:gd name="T80" fmla="*/ 219 w 478"/>
              <a:gd name="T81" fmla="*/ 308 h 875"/>
              <a:gd name="T82" fmla="*/ 161 w 478"/>
              <a:gd name="T83" fmla="*/ 255 h 875"/>
              <a:gd name="T84" fmla="*/ 108 w 478"/>
              <a:gd name="T85" fmla="*/ 198 h 875"/>
              <a:gd name="T86" fmla="*/ 72 w 478"/>
              <a:gd name="T87" fmla="*/ 146 h 875"/>
              <a:gd name="T88" fmla="*/ 42 w 478"/>
              <a:gd name="T89" fmla="*/ 104 h 875"/>
              <a:gd name="T90" fmla="*/ 46 w 478"/>
              <a:gd name="T91" fmla="*/ 41 h 875"/>
              <a:gd name="T92" fmla="*/ 129 w 478"/>
              <a:gd name="T93" fmla="*/ 19 h 875"/>
              <a:gd name="T94" fmla="*/ 148 w 478"/>
              <a:gd name="T95" fmla="*/ 5 h 875"/>
              <a:gd name="T96" fmla="*/ 175 w 478"/>
              <a:gd name="T97" fmla="*/ 16 h 875"/>
              <a:gd name="T98" fmla="*/ 221 w 478"/>
              <a:gd name="T99" fmla="*/ 35 h 875"/>
              <a:gd name="T100" fmla="*/ 269 w 478"/>
              <a:gd name="T101" fmla="*/ 67 h 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91" name="Freeform 54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A5D7D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92" name="Freeform 54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>
              <a:gd name="T0" fmla="*/ 200 w 399"/>
              <a:gd name="T1" fmla="*/ 8 h 518"/>
              <a:gd name="T2" fmla="*/ 202 w 399"/>
              <a:gd name="T3" fmla="*/ 22 h 518"/>
              <a:gd name="T4" fmla="*/ 208 w 399"/>
              <a:gd name="T5" fmla="*/ 36 h 518"/>
              <a:gd name="T6" fmla="*/ 214 w 399"/>
              <a:gd name="T7" fmla="*/ 49 h 518"/>
              <a:gd name="T8" fmla="*/ 224 w 399"/>
              <a:gd name="T9" fmla="*/ 63 h 518"/>
              <a:gd name="T10" fmla="*/ 235 w 399"/>
              <a:gd name="T11" fmla="*/ 75 h 518"/>
              <a:gd name="T12" fmla="*/ 249 w 399"/>
              <a:gd name="T13" fmla="*/ 86 h 518"/>
              <a:gd name="T14" fmla="*/ 264 w 399"/>
              <a:gd name="T15" fmla="*/ 95 h 518"/>
              <a:gd name="T16" fmla="*/ 316 w 399"/>
              <a:gd name="T17" fmla="*/ 106 h 518"/>
              <a:gd name="T18" fmla="*/ 365 w 399"/>
              <a:gd name="T19" fmla="*/ 119 h 518"/>
              <a:gd name="T20" fmla="*/ 380 w 399"/>
              <a:gd name="T21" fmla="*/ 127 h 518"/>
              <a:gd name="T22" fmla="*/ 392 w 399"/>
              <a:gd name="T23" fmla="*/ 137 h 518"/>
              <a:gd name="T24" fmla="*/ 398 w 399"/>
              <a:gd name="T25" fmla="*/ 151 h 518"/>
              <a:gd name="T26" fmla="*/ 398 w 399"/>
              <a:gd name="T27" fmla="*/ 174 h 518"/>
              <a:gd name="T28" fmla="*/ 390 w 399"/>
              <a:gd name="T29" fmla="*/ 200 h 518"/>
              <a:gd name="T30" fmla="*/ 369 w 399"/>
              <a:gd name="T31" fmla="*/ 239 h 518"/>
              <a:gd name="T32" fmla="*/ 344 w 399"/>
              <a:gd name="T33" fmla="*/ 276 h 518"/>
              <a:gd name="T34" fmla="*/ 328 w 399"/>
              <a:gd name="T35" fmla="*/ 303 h 518"/>
              <a:gd name="T36" fmla="*/ 314 w 399"/>
              <a:gd name="T37" fmla="*/ 330 h 518"/>
              <a:gd name="T38" fmla="*/ 307 w 399"/>
              <a:gd name="T39" fmla="*/ 360 h 518"/>
              <a:gd name="T40" fmla="*/ 297 w 399"/>
              <a:gd name="T41" fmla="*/ 377 h 518"/>
              <a:gd name="T42" fmla="*/ 268 w 399"/>
              <a:gd name="T43" fmla="*/ 387 h 518"/>
              <a:gd name="T44" fmla="*/ 246 w 399"/>
              <a:gd name="T45" fmla="*/ 399 h 518"/>
              <a:gd name="T46" fmla="*/ 235 w 399"/>
              <a:gd name="T47" fmla="*/ 408 h 518"/>
              <a:gd name="T48" fmla="*/ 227 w 399"/>
              <a:gd name="T49" fmla="*/ 417 h 518"/>
              <a:gd name="T50" fmla="*/ 224 w 399"/>
              <a:gd name="T51" fmla="*/ 427 h 518"/>
              <a:gd name="T52" fmla="*/ 213 w 399"/>
              <a:gd name="T53" fmla="*/ 438 h 518"/>
              <a:gd name="T54" fmla="*/ 188 w 399"/>
              <a:gd name="T55" fmla="*/ 450 h 518"/>
              <a:gd name="T56" fmla="*/ 173 w 399"/>
              <a:gd name="T57" fmla="*/ 456 h 518"/>
              <a:gd name="T58" fmla="*/ 166 w 399"/>
              <a:gd name="T59" fmla="*/ 467 h 518"/>
              <a:gd name="T60" fmla="*/ 158 w 399"/>
              <a:gd name="T61" fmla="*/ 481 h 518"/>
              <a:gd name="T62" fmla="*/ 146 w 399"/>
              <a:gd name="T63" fmla="*/ 490 h 518"/>
              <a:gd name="T64" fmla="*/ 131 w 399"/>
              <a:gd name="T65" fmla="*/ 494 h 518"/>
              <a:gd name="T66" fmla="*/ 102 w 399"/>
              <a:gd name="T67" fmla="*/ 498 h 518"/>
              <a:gd name="T68" fmla="*/ 73 w 399"/>
              <a:gd name="T69" fmla="*/ 504 h 518"/>
              <a:gd name="T70" fmla="*/ 55 w 399"/>
              <a:gd name="T71" fmla="*/ 512 h 518"/>
              <a:gd name="T72" fmla="*/ 46 w 399"/>
              <a:gd name="T73" fmla="*/ 514 h 518"/>
              <a:gd name="T74" fmla="*/ 43 w 399"/>
              <a:gd name="T75" fmla="*/ 506 h 518"/>
              <a:gd name="T76" fmla="*/ 38 w 399"/>
              <a:gd name="T77" fmla="*/ 497 h 518"/>
              <a:gd name="T78" fmla="*/ 34 w 399"/>
              <a:gd name="T79" fmla="*/ 487 h 518"/>
              <a:gd name="T80" fmla="*/ 33 w 399"/>
              <a:gd name="T81" fmla="*/ 468 h 518"/>
              <a:gd name="T82" fmla="*/ 29 w 399"/>
              <a:gd name="T83" fmla="*/ 445 h 518"/>
              <a:gd name="T84" fmla="*/ 17 w 399"/>
              <a:gd name="T85" fmla="*/ 418 h 518"/>
              <a:gd name="T86" fmla="*/ 0 w 399"/>
              <a:gd name="T87" fmla="*/ 358 h 518"/>
              <a:gd name="T88" fmla="*/ 194 w 399"/>
              <a:gd name="T89" fmla="*/ 185 h 518"/>
              <a:gd name="T90" fmla="*/ 200 w 399"/>
              <a:gd name="T91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93" name="Freeform 545"/>
          <p:cNvSpPr>
            <a:spLocks/>
          </p:cNvSpPr>
          <p:nvPr>
            <p:custDataLst>
              <p:tags r:id="rId371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>
              <a:gd name="T0" fmla="*/ 231 w 866"/>
              <a:gd name="T1" fmla="*/ 270 h 740"/>
              <a:gd name="T2" fmla="*/ 245 w 866"/>
              <a:gd name="T3" fmla="*/ 264 h 740"/>
              <a:gd name="T4" fmla="*/ 272 w 866"/>
              <a:gd name="T5" fmla="*/ 272 h 740"/>
              <a:gd name="T6" fmla="*/ 654 w 866"/>
              <a:gd name="T7" fmla="*/ 1 h 740"/>
              <a:gd name="T8" fmla="*/ 679 w 866"/>
              <a:gd name="T9" fmla="*/ 6 h 740"/>
              <a:gd name="T10" fmla="*/ 711 w 866"/>
              <a:gd name="T11" fmla="*/ 21 h 740"/>
              <a:gd name="T12" fmla="*/ 730 w 866"/>
              <a:gd name="T13" fmla="*/ 35 h 740"/>
              <a:gd name="T14" fmla="*/ 760 w 866"/>
              <a:gd name="T15" fmla="*/ 57 h 740"/>
              <a:gd name="T16" fmla="*/ 791 w 866"/>
              <a:gd name="T17" fmla="*/ 59 h 740"/>
              <a:gd name="T18" fmla="*/ 831 w 866"/>
              <a:gd name="T19" fmla="*/ 43 h 740"/>
              <a:gd name="T20" fmla="*/ 854 w 866"/>
              <a:gd name="T21" fmla="*/ 166 h 740"/>
              <a:gd name="T22" fmla="*/ 866 w 866"/>
              <a:gd name="T23" fmla="*/ 205 h 740"/>
              <a:gd name="T24" fmla="*/ 850 w 866"/>
              <a:gd name="T25" fmla="*/ 301 h 740"/>
              <a:gd name="T26" fmla="*/ 848 w 866"/>
              <a:gd name="T27" fmla="*/ 376 h 740"/>
              <a:gd name="T28" fmla="*/ 834 w 866"/>
              <a:gd name="T29" fmla="*/ 421 h 740"/>
              <a:gd name="T30" fmla="*/ 802 w 866"/>
              <a:gd name="T31" fmla="*/ 467 h 740"/>
              <a:gd name="T32" fmla="*/ 777 w 866"/>
              <a:gd name="T33" fmla="*/ 499 h 740"/>
              <a:gd name="T34" fmla="*/ 758 w 866"/>
              <a:gd name="T35" fmla="*/ 567 h 740"/>
              <a:gd name="T36" fmla="*/ 711 w 866"/>
              <a:gd name="T37" fmla="*/ 629 h 740"/>
              <a:gd name="T38" fmla="*/ 680 w 866"/>
              <a:gd name="T39" fmla="*/ 646 h 740"/>
              <a:gd name="T40" fmla="*/ 644 w 866"/>
              <a:gd name="T41" fmla="*/ 638 h 740"/>
              <a:gd name="T42" fmla="*/ 611 w 866"/>
              <a:gd name="T43" fmla="*/ 625 h 740"/>
              <a:gd name="T44" fmla="*/ 566 w 866"/>
              <a:gd name="T45" fmla="*/ 633 h 740"/>
              <a:gd name="T46" fmla="*/ 530 w 866"/>
              <a:gd name="T47" fmla="*/ 659 h 740"/>
              <a:gd name="T48" fmla="*/ 511 w 866"/>
              <a:gd name="T49" fmla="*/ 680 h 740"/>
              <a:gd name="T50" fmla="*/ 491 w 866"/>
              <a:gd name="T51" fmla="*/ 684 h 740"/>
              <a:gd name="T52" fmla="*/ 470 w 866"/>
              <a:gd name="T53" fmla="*/ 668 h 740"/>
              <a:gd name="T54" fmla="*/ 446 w 866"/>
              <a:gd name="T55" fmla="*/ 639 h 740"/>
              <a:gd name="T56" fmla="*/ 421 w 866"/>
              <a:gd name="T57" fmla="*/ 635 h 740"/>
              <a:gd name="T58" fmla="*/ 405 w 866"/>
              <a:gd name="T59" fmla="*/ 647 h 740"/>
              <a:gd name="T60" fmla="*/ 384 w 866"/>
              <a:gd name="T61" fmla="*/ 652 h 740"/>
              <a:gd name="T62" fmla="*/ 350 w 866"/>
              <a:gd name="T63" fmla="*/ 638 h 740"/>
              <a:gd name="T64" fmla="*/ 306 w 866"/>
              <a:gd name="T65" fmla="*/ 608 h 740"/>
              <a:gd name="T66" fmla="*/ 271 w 866"/>
              <a:gd name="T67" fmla="*/ 604 h 740"/>
              <a:gd name="T68" fmla="*/ 237 w 866"/>
              <a:gd name="T69" fmla="*/ 620 h 740"/>
              <a:gd name="T70" fmla="*/ 209 w 866"/>
              <a:gd name="T71" fmla="*/ 653 h 740"/>
              <a:gd name="T72" fmla="*/ 190 w 866"/>
              <a:gd name="T73" fmla="*/ 692 h 740"/>
              <a:gd name="T74" fmla="*/ 178 w 866"/>
              <a:gd name="T75" fmla="*/ 719 h 740"/>
              <a:gd name="T76" fmla="*/ 149 w 866"/>
              <a:gd name="T77" fmla="*/ 702 h 740"/>
              <a:gd name="T78" fmla="*/ 100 w 866"/>
              <a:gd name="T79" fmla="*/ 740 h 740"/>
              <a:gd name="T80" fmla="*/ 66 w 866"/>
              <a:gd name="T81" fmla="*/ 699 h 740"/>
              <a:gd name="T82" fmla="*/ 64 w 866"/>
              <a:gd name="T83" fmla="*/ 644 h 740"/>
              <a:gd name="T84" fmla="*/ 50 w 866"/>
              <a:gd name="T85" fmla="*/ 613 h 740"/>
              <a:gd name="T86" fmla="*/ 20 w 866"/>
              <a:gd name="T87" fmla="*/ 587 h 740"/>
              <a:gd name="T88" fmla="*/ 5 w 866"/>
              <a:gd name="T89" fmla="*/ 558 h 740"/>
              <a:gd name="T90" fmla="*/ 53 w 866"/>
              <a:gd name="T91" fmla="*/ 530 h 740"/>
              <a:gd name="T92" fmla="*/ 76 w 866"/>
              <a:gd name="T93" fmla="*/ 518 h 740"/>
              <a:gd name="T94" fmla="*/ 139 w 866"/>
              <a:gd name="T95" fmla="*/ 510 h 740"/>
              <a:gd name="T96" fmla="*/ 182 w 866"/>
              <a:gd name="T97" fmla="*/ 500 h 740"/>
              <a:gd name="T98" fmla="*/ 201 w 866"/>
              <a:gd name="T99" fmla="*/ 475 h 740"/>
              <a:gd name="T100" fmla="*/ 219 w 866"/>
              <a:gd name="T101" fmla="*/ 424 h 740"/>
              <a:gd name="T102" fmla="*/ 224 w 866"/>
              <a:gd name="T103" fmla="*/ 367 h 740"/>
              <a:gd name="T104" fmla="*/ 219 w 866"/>
              <a:gd name="T105" fmla="*/ 320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94" name="Freeform 546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>
              <a:gd name="T0" fmla="*/ 648 w 697"/>
              <a:gd name="T1" fmla="*/ 53 h 500"/>
              <a:gd name="T2" fmla="*/ 657 w 697"/>
              <a:gd name="T3" fmla="*/ 161 h 500"/>
              <a:gd name="T4" fmla="*/ 661 w 697"/>
              <a:gd name="T5" fmla="*/ 167 h 500"/>
              <a:gd name="T6" fmla="*/ 677 w 697"/>
              <a:gd name="T7" fmla="*/ 177 h 500"/>
              <a:gd name="T8" fmla="*/ 694 w 697"/>
              <a:gd name="T9" fmla="*/ 189 h 500"/>
              <a:gd name="T10" fmla="*/ 697 w 697"/>
              <a:gd name="T11" fmla="*/ 198 h 500"/>
              <a:gd name="T12" fmla="*/ 694 w 697"/>
              <a:gd name="T13" fmla="*/ 211 h 500"/>
              <a:gd name="T14" fmla="*/ 685 w 697"/>
              <a:gd name="T15" fmla="*/ 217 h 500"/>
              <a:gd name="T16" fmla="*/ 655 w 697"/>
              <a:gd name="T17" fmla="*/ 218 h 500"/>
              <a:gd name="T18" fmla="*/ 605 w 697"/>
              <a:gd name="T19" fmla="*/ 228 h 500"/>
              <a:gd name="T20" fmla="*/ 567 w 697"/>
              <a:gd name="T21" fmla="*/ 250 h 500"/>
              <a:gd name="T22" fmla="*/ 549 w 697"/>
              <a:gd name="T23" fmla="*/ 267 h 500"/>
              <a:gd name="T24" fmla="*/ 539 w 697"/>
              <a:gd name="T25" fmla="*/ 288 h 500"/>
              <a:gd name="T26" fmla="*/ 521 w 697"/>
              <a:gd name="T27" fmla="*/ 302 h 500"/>
              <a:gd name="T28" fmla="*/ 491 w 697"/>
              <a:gd name="T29" fmla="*/ 324 h 500"/>
              <a:gd name="T30" fmla="*/ 455 w 697"/>
              <a:gd name="T31" fmla="*/ 352 h 500"/>
              <a:gd name="T32" fmla="*/ 420 w 697"/>
              <a:gd name="T33" fmla="*/ 370 h 500"/>
              <a:gd name="T34" fmla="*/ 372 w 697"/>
              <a:gd name="T35" fmla="*/ 377 h 500"/>
              <a:gd name="T36" fmla="*/ 344 w 697"/>
              <a:gd name="T37" fmla="*/ 380 h 500"/>
              <a:gd name="T38" fmla="*/ 316 w 697"/>
              <a:gd name="T39" fmla="*/ 396 h 500"/>
              <a:gd name="T40" fmla="*/ 290 w 697"/>
              <a:gd name="T41" fmla="*/ 417 h 500"/>
              <a:gd name="T42" fmla="*/ 265 w 697"/>
              <a:gd name="T43" fmla="*/ 426 h 500"/>
              <a:gd name="T44" fmla="*/ 5 w 697"/>
              <a:gd name="T45" fmla="*/ 496 h 500"/>
              <a:gd name="T46" fmla="*/ 32 w 697"/>
              <a:gd name="T47" fmla="*/ 487 h 500"/>
              <a:gd name="T48" fmla="*/ 85 w 697"/>
              <a:gd name="T49" fmla="*/ 473 h 500"/>
              <a:gd name="T50" fmla="*/ 93 w 697"/>
              <a:gd name="T51" fmla="*/ 459 h 500"/>
              <a:gd name="T52" fmla="*/ 99 w 697"/>
              <a:gd name="T53" fmla="*/ 438 h 500"/>
              <a:gd name="T54" fmla="*/ 119 w 697"/>
              <a:gd name="T55" fmla="*/ 422 h 500"/>
              <a:gd name="T56" fmla="*/ 160 w 697"/>
              <a:gd name="T57" fmla="*/ 399 h 500"/>
              <a:gd name="T58" fmla="*/ 181 w 697"/>
              <a:gd name="T59" fmla="*/ 382 h 500"/>
              <a:gd name="T60" fmla="*/ 192 w 697"/>
              <a:gd name="T61" fmla="*/ 357 h 500"/>
              <a:gd name="T62" fmla="*/ 193 w 697"/>
              <a:gd name="T63" fmla="*/ 316 h 500"/>
              <a:gd name="T64" fmla="*/ 195 w 697"/>
              <a:gd name="T65" fmla="*/ 254 h 500"/>
              <a:gd name="T66" fmla="*/ 192 w 697"/>
              <a:gd name="T67" fmla="*/ 192 h 500"/>
              <a:gd name="T68" fmla="*/ 214 w 697"/>
              <a:gd name="T69" fmla="*/ 189 h 500"/>
              <a:gd name="T70" fmla="*/ 228 w 697"/>
              <a:gd name="T71" fmla="*/ 179 h 500"/>
              <a:gd name="T72" fmla="*/ 241 w 697"/>
              <a:gd name="T73" fmla="*/ 165 h 500"/>
              <a:gd name="T74" fmla="*/ 252 w 697"/>
              <a:gd name="T75" fmla="*/ 152 h 500"/>
              <a:gd name="T76" fmla="*/ 281 w 697"/>
              <a:gd name="T77" fmla="*/ 146 h 500"/>
              <a:gd name="T78" fmla="*/ 314 w 697"/>
              <a:gd name="T79" fmla="*/ 143 h 500"/>
              <a:gd name="T80" fmla="*/ 340 w 697"/>
              <a:gd name="T81" fmla="*/ 131 h 500"/>
              <a:gd name="T82" fmla="*/ 360 w 697"/>
              <a:gd name="T83" fmla="*/ 108 h 500"/>
              <a:gd name="T84" fmla="*/ 388 w 697"/>
              <a:gd name="T85" fmla="*/ 48 h 500"/>
              <a:gd name="T86" fmla="*/ 407 w 697"/>
              <a:gd name="T87" fmla="*/ 12 h 500"/>
              <a:gd name="T88" fmla="*/ 426 w 697"/>
              <a:gd name="T89" fmla="*/ 8 h 500"/>
              <a:gd name="T90" fmla="*/ 449 w 697"/>
              <a:gd name="T91" fmla="*/ 20 h 500"/>
              <a:gd name="T92" fmla="*/ 512 w 697"/>
              <a:gd name="T93" fmla="*/ 18 h 500"/>
              <a:gd name="T94" fmla="*/ 590 w 697"/>
              <a:gd name="T95" fmla="*/ 13 h 500"/>
              <a:gd name="T96" fmla="*/ 597 w 697"/>
              <a:gd name="T97" fmla="*/ 17 h 500"/>
              <a:gd name="T98" fmla="*/ 605 w 697"/>
              <a:gd name="T99" fmla="*/ 36 h 500"/>
              <a:gd name="T100" fmla="*/ 611 w 697"/>
              <a:gd name="T101" fmla="*/ 51 h 500"/>
              <a:gd name="T102" fmla="*/ 618 w 697"/>
              <a:gd name="T103" fmla="*/ 50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95" name="Freeform 547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96" name="Freeform 548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97" name="Freeform 549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598" name="Freeform 550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de-DE" sz="30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2060" name="Freeform 12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>
              <a:gd name="T0" fmla="*/ 26 w 398"/>
              <a:gd name="T1" fmla="*/ 2 h 518"/>
              <a:gd name="T2" fmla="*/ 95 w 398"/>
              <a:gd name="T3" fmla="*/ 13 h 518"/>
              <a:gd name="T4" fmla="*/ 116 w 398"/>
              <a:gd name="T5" fmla="*/ 23 h 518"/>
              <a:gd name="T6" fmla="*/ 80 w 398"/>
              <a:gd name="T7" fmla="*/ 47 h 518"/>
              <a:gd name="T8" fmla="*/ 64 w 398"/>
              <a:gd name="T9" fmla="*/ 62 h 518"/>
              <a:gd name="T10" fmla="*/ 77 w 398"/>
              <a:gd name="T11" fmla="*/ 69 h 518"/>
              <a:gd name="T12" fmla="*/ 167 w 398"/>
              <a:gd name="T13" fmla="*/ 79 h 518"/>
              <a:gd name="T14" fmla="*/ 210 w 398"/>
              <a:gd name="T15" fmla="*/ 109 h 518"/>
              <a:gd name="T16" fmla="*/ 154 w 398"/>
              <a:gd name="T17" fmla="*/ 127 h 518"/>
              <a:gd name="T18" fmla="*/ 147 w 398"/>
              <a:gd name="T19" fmla="*/ 138 h 518"/>
              <a:gd name="T20" fmla="*/ 191 w 398"/>
              <a:gd name="T21" fmla="*/ 143 h 518"/>
              <a:gd name="T22" fmla="*/ 211 w 398"/>
              <a:gd name="T23" fmla="*/ 156 h 518"/>
              <a:gd name="T24" fmla="*/ 243 w 398"/>
              <a:gd name="T25" fmla="*/ 191 h 518"/>
              <a:gd name="T26" fmla="*/ 258 w 398"/>
              <a:gd name="T27" fmla="*/ 212 h 518"/>
              <a:gd name="T28" fmla="*/ 260 w 398"/>
              <a:gd name="T29" fmla="*/ 237 h 518"/>
              <a:gd name="T30" fmla="*/ 272 w 398"/>
              <a:gd name="T31" fmla="*/ 254 h 518"/>
              <a:gd name="T32" fmla="*/ 286 w 398"/>
              <a:gd name="T33" fmla="*/ 279 h 518"/>
              <a:gd name="T34" fmla="*/ 306 w 398"/>
              <a:gd name="T35" fmla="*/ 297 h 518"/>
              <a:gd name="T36" fmla="*/ 327 w 398"/>
              <a:gd name="T37" fmla="*/ 320 h 518"/>
              <a:gd name="T38" fmla="*/ 346 w 398"/>
              <a:gd name="T39" fmla="*/ 337 h 518"/>
              <a:gd name="T40" fmla="*/ 370 w 398"/>
              <a:gd name="T41" fmla="*/ 341 h 518"/>
              <a:gd name="T42" fmla="*/ 396 w 398"/>
              <a:gd name="T43" fmla="*/ 365 h 518"/>
              <a:gd name="T44" fmla="*/ 395 w 398"/>
              <a:gd name="T45" fmla="*/ 395 h 518"/>
              <a:gd name="T46" fmla="*/ 382 w 398"/>
              <a:gd name="T47" fmla="*/ 404 h 518"/>
              <a:gd name="T48" fmla="*/ 367 w 398"/>
              <a:gd name="T49" fmla="*/ 415 h 518"/>
              <a:gd name="T50" fmla="*/ 368 w 398"/>
              <a:gd name="T51" fmla="*/ 426 h 518"/>
              <a:gd name="T52" fmla="*/ 376 w 398"/>
              <a:gd name="T53" fmla="*/ 443 h 518"/>
              <a:gd name="T54" fmla="*/ 359 w 398"/>
              <a:gd name="T55" fmla="*/ 463 h 518"/>
              <a:gd name="T56" fmla="*/ 146 w 398"/>
              <a:gd name="T57" fmla="*/ 500 h 518"/>
              <a:gd name="T58" fmla="*/ 68 w 398"/>
              <a:gd name="T59" fmla="*/ 508 h 518"/>
              <a:gd name="T60" fmla="*/ 53 w 398"/>
              <a:gd name="T61" fmla="*/ 518 h 518"/>
              <a:gd name="T62" fmla="*/ 58 w 398"/>
              <a:gd name="T63" fmla="*/ 493 h 518"/>
              <a:gd name="T64" fmla="*/ 71 w 398"/>
              <a:gd name="T65" fmla="*/ 476 h 518"/>
              <a:gd name="T66" fmla="*/ 114 w 398"/>
              <a:gd name="T67" fmla="*/ 458 h 518"/>
              <a:gd name="T68" fmla="*/ 172 w 398"/>
              <a:gd name="T69" fmla="*/ 439 h 518"/>
              <a:gd name="T70" fmla="*/ 179 w 398"/>
              <a:gd name="T71" fmla="*/ 426 h 518"/>
              <a:gd name="T72" fmla="*/ 171 w 398"/>
              <a:gd name="T73" fmla="*/ 434 h 518"/>
              <a:gd name="T74" fmla="*/ 111 w 398"/>
              <a:gd name="T75" fmla="*/ 432 h 518"/>
              <a:gd name="T76" fmla="*/ 76 w 398"/>
              <a:gd name="T77" fmla="*/ 420 h 518"/>
              <a:gd name="T78" fmla="*/ 77 w 398"/>
              <a:gd name="T79" fmla="*/ 402 h 518"/>
              <a:gd name="T80" fmla="*/ 95 w 398"/>
              <a:gd name="T81" fmla="*/ 391 h 518"/>
              <a:gd name="T82" fmla="*/ 87 w 398"/>
              <a:gd name="T83" fmla="*/ 352 h 518"/>
              <a:gd name="T84" fmla="*/ 105 w 398"/>
              <a:gd name="T85" fmla="*/ 329 h 518"/>
              <a:gd name="T86" fmla="*/ 154 w 398"/>
              <a:gd name="T87" fmla="*/ 309 h 518"/>
              <a:gd name="T88" fmla="*/ 172 w 398"/>
              <a:gd name="T89" fmla="*/ 291 h 518"/>
              <a:gd name="T90" fmla="*/ 148 w 398"/>
              <a:gd name="T91" fmla="*/ 271 h 518"/>
              <a:gd name="T92" fmla="*/ 139 w 398"/>
              <a:gd name="T93" fmla="*/ 247 h 518"/>
              <a:gd name="T94" fmla="*/ 94 w 398"/>
              <a:gd name="T95" fmla="*/ 239 h 518"/>
              <a:gd name="T96" fmla="*/ 80 w 398"/>
              <a:gd name="T97" fmla="*/ 216 h 518"/>
              <a:gd name="T98" fmla="*/ 90 w 398"/>
              <a:gd name="T99" fmla="*/ 192 h 518"/>
              <a:gd name="T100" fmla="*/ 100 w 398"/>
              <a:gd name="T101" fmla="*/ 168 h 518"/>
              <a:gd name="T102" fmla="*/ 73 w 398"/>
              <a:gd name="T103" fmla="*/ 186 h 518"/>
              <a:gd name="T104" fmla="*/ 22 w 398"/>
              <a:gd name="T105" fmla="*/ 162 h 518"/>
              <a:gd name="T106" fmla="*/ 20 w 398"/>
              <a:gd name="T107" fmla="*/ 142 h 518"/>
              <a:gd name="T108" fmla="*/ 14 w 398"/>
              <a:gd name="T109" fmla="*/ 131 h 518"/>
              <a:gd name="T110" fmla="*/ 20 w 398"/>
              <a:gd name="T111" fmla="*/ 63 h 518"/>
              <a:gd name="T112" fmla="*/ 19 w 398"/>
              <a:gd name="T113" fmla="*/ 49 h 518"/>
              <a:gd name="T114" fmla="*/ 4 w 398"/>
              <a:gd name="T115" fmla="*/ 40 h 518"/>
              <a:gd name="T116" fmla="*/ 20 w 398"/>
              <a:gd name="T117" fmla="*/ 19 h 518"/>
              <a:gd name="T118" fmla="*/ 3 w 398"/>
              <a:gd name="T119" fmla="*/ 9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4357113" y="108406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sz="300" dirty="0"/>
          </a:p>
        </p:txBody>
      </p:sp>
      <p:sp>
        <p:nvSpPr>
          <p:cNvPr id="6" name="Textfeld 5"/>
          <p:cNvSpPr txBox="1"/>
          <p:nvPr/>
        </p:nvSpPr>
        <p:spPr>
          <a:xfrm>
            <a:off x="7556769" y="241637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sz="300" dirty="0"/>
          </a:p>
        </p:txBody>
      </p:sp>
      <p:sp>
        <p:nvSpPr>
          <p:cNvPr id="7" name="Textfeld 6"/>
          <p:cNvSpPr txBox="1"/>
          <p:nvPr/>
        </p:nvSpPr>
        <p:spPr>
          <a:xfrm>
            <a:off x="-1766690" y="231819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sz="300" dirty="0"/>
          </a:p>
        </p:txBody>
      </p:sp>
      <p:sp>
        <p:nvSpPr>
          <p:cNvPr id="8" name="Textfeld 7"/>
          <p:cNvSpPr txBox="1"/>
          <p:nvPr/>
        </p:nvSpPr>
        <p:spPr>
          <a:xfrm>
            <a:off x="3617913" y="33756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sz="300" dirty="0"/>
          </a:p>
        </p:txBody>
      </p:sp>
      <p:sp>
        <p:nvSpPr>
          <p:cNvPr id="2064" name="Freeform 16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148138" y="1914790"/>
            <a:ext cx="277812" cy="248973"/>
          </a:xfrm>
          <a:custGeom>
            <a:avLst/>
            <a:gdLst>
              <a:gd name="T0" fmla="*/ 426 w 438"/>
              <a:gd name="T1" fmla="*/ 190 h 451"/>
              <a:gd name="T2" fmla="*/ 408 w 438"/>
              <a:gd name="T3" fmla="*/ 128 h 451"/>
              <a:gd name="T4" fmla="*/ 387 w 438"/>
              <a:gd name="T5" fmla="*/ 85 h 451"/>
              <a:gd name="T6" fmla="*/ 367 w 438"/>
              <a:gd name="T7" fmla="*/ 62 h 451"/>
              <a:gd name="T8" fmla="*/ 356 w 438"/>
              <a:gd name="T9" fmla="*/ 58 h 451"/>
              <a:gd name="T10" fmla="*/ 335 w 438"/>
              <a:gd name="T11" fmla="*/ 45 h 451"/>
              <a:gd name="T12" fmla="*/ 314 w 438"/>
              <a:gd name="T13" fmla="*/ 38 h 451"/>
              <a:gd name="T14" fmla="*/ 293 w 438"/>
              <a:gd name="T15" fmla="*/ 38 h 451"/>
              <a:gd name="T16" fmla="*/ 276 w 438"/>
              <a:gd name="T17" fmla="*/ 42 h 451"/>
              <a:gd name="T18" fmla="*/ 251 w 438"/>
              <a:gd name="T19" fmla="*/ 58 h 451"/>
              <a:gd name="T20" fmla="*/ 235 w 438"/>
              <a:gd name="T21" fmla="*/ 67 h 451"/>
              <a:gd name="T22" fmla="*/ 217 w 438"/>
              <a:gd name="T23" fmla="*/ 66 h 451"/>
              <a:gd name="T24" fmla="*/ 174 w 438"/>
              <a:gd name="T25" fmla="*/ 37 h 451"/>
              <a:gd name="T26" fmla="*/ 113 w 438"/>
              <a:gd name="T27" fmla="*/ 0 h 451"/>
              <a:gd name="T28" fmla="*/ 95 w 438"/>
              <a:gd name="T29" fmla="*/ 23 h 451"/>
              <a:gd name="T30" fmla="*/ 93 w 438"/>
              <a:gd name="T31" fmla="*/ 43 h 451"/>
              <a:gd name="T32" fmla="*/ 98 w 438"/>
              <a:gd name="T33" fmla="*/ 52 h 451"/>
              <a:gd name="T34" fmla="*/ 119 w 438"/>
              <a:gd name="T35" fmla="*/ 69 h 451"/>
              <a:gd name="T36" fmla="*/ 99 w 438"/>
              <a:gd name="T37" fmla="*/ 73 h 451"/>
              <a:gd name="T38" fmla="*/ 66 w 438"/>
              <a:gd name="T39" fmla="*/ 93 h 451"/>
              <a:gd name="T40" fmla="*/ 58 w 438"/>
              <a:gd name="T41" fmla="*/ 119 h 451"/>
              <a:gd name="T42" fmla="*/ 45 w 438"/>
              <a:gd name="T43" fmla="*/ 138 h 451"/>
              <a:gd name="T44" fmla="*/ 35 w 438"/>
              <a:gd name="T45" fmla="*/ 156 h 451"/>
              <a:gd name="T46" fmla="*/ 33 w 438"/>
              <a:gd name="T47" fmla="*/ 179 h 451"/>
              <a:gd name="T48" fmla="*/ 7 w 438"/>
              <a:gd name="T49" fmla="*/ 238 h 451"/>
              <a:gd name="T50" fmla="*/ 15 w 438"/>
              <a:gd name="T51" fmla="*/ 246 h 451"/>
              <a:gd name="T52" fmla="*/ 26 w 438"/>
              <a:gd name="T53" fmla="*/ 247 h 451"/>
              <a:gd name="T54" fmla="*/ 33 w 438"/>
              <a:gd name="T55" fmla="*/ 346 h 451"/>
              <a:gd name="T56" fmla="*/ 93 w 438"/>
              <a:gd name="T57" fmla="*/ 353 h 451"/>
              <a:gd name="T58" fmla="*/ 104 w 438"/>
              <a:gd name="T59" fmla="*/ 376 h 451"/>
              <a:gd name="T60" fmla="*/ 89 w 438"/>
              <a:gd name="T61" fmla="*/ 425 h 451"/>
              <a:gd name="T62" fmla="*/ 109 w 438"/>
              <a:gd name="T63" fmla="*/ 447 h 451"/>
              <a:gd name="T64" fmla="*/ 152 w 438"/>
              <a:gd name="T65" fmla="*/ 447 h 451"/>
              <a:gd name="T66" fmla="*/ 205 w 438"/>
              <a:gd name="T67" fmla="*/ 444 h 451"/>
              <a:gd name="T68" fmla="*/ 276 w 438"/>
              <a:gd name="T69" fmla="*/ 446 h 451"/>
              <a:gd name="T70" fmla="*/ 343 w 438"/>
              <a:gd name="T71" fmla="*/ 442 h 451"/>
              <a:gd name="T72" fmla="*/ 372 w 438"/>
              <a:gd name="T73" fmla="*/ 432 h 451"/>
              <a:gd name="T74" fmla="*/ 359 w 438"/>
              <a:gd name="T75" fmla="*/ 413 h 451"/>
              <a:gd name="T76" fmla="*/ 369 w 438"/>
              <a:gd name="T77" fmla="*/ 403 h 451"/>
              <a:gd name="T78" fmla="*/ 372 w 438"/>
              <a:gd name="T79" fmla="*/ 382 h 451"/>
              <a:gd name="T80" fmla="*/ 380 w 438"/>
              <a:gd name="T81" fmla="*/ 367 h 451"/>
              <a:gd name="T82" fmla="*/ 343 w 438"/>
              <a:gd name="T83" fmla="*/ 344 h 451"/>
              <a:gd name="T84" fmla="*/ 325 w 438"/>
              <a:gd name="T85" fmla="*/ 323 h 451"/>
              <a:gd name="T86" fmla="*/ 311 w 438"/>
              <a:gd name="T87" fmla="*/ 294 h 451"/>
              <a:gd name="T88" fmla="*/ 294 w 438"/>
              <a:gd name="T89" fmla="*/ 277 h 451"/>
              <a:gd name="T90" fmla="*/ 314 w 438"/>
              <a:gd name="T91" fmla="*/ 275 h 451"/>
              <a:gd name="T92" fmla="*/ 346 w 438"/>
              <a:gd name="T93" fmla="*/ 271 h 451"/>
              <a:gd name="T94" fmla="*/ 369 w 438"/>
              <a:gd name="T95" fmla="*/ 260 h 451"/>
              <a:gd name="T96" fmla="*/ 407 w 438"/>
              <a:gd name="T97" fmla="*/ 240 h 451"/>
              <a:gd name="T98" fmla="*/ 438 w 438"/>
              <a:gd name="T99" fmla="*/ 235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anchor="ctr"/>
          <a:lstStyle/>
          <a:p>
            <a:pPr algn="ctr"/>
            <a:endParaRPr lang="de-DE" sz="300" dirty="0"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7010615" y="584362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sz="300" dirty="0"/>
          </a:p>
        </p:txBody>
      </p:sp>
      <p:sp>
        <p:nvSpPr>
          <p:cNvPr id="4" name="Textfeld 3"/>
          <p:cNvSpPr txBox="1"/>
          <p:nvPr/>
        </p:nvSpPr>
        <p:spPr>
          <a:xfrm>
            <a:off x="1558977" y="403235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200"/>
              </a:lnSpc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3580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Affect heuristic as explanation for biased risk-return judgments.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4</a:t>
            </a:fld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Abgerundetes Rechteck 13"/>
          <p:cNvSpPr/>
          <p:nvPr/>
        </p:nvSpPr>
        <p:spPr>
          <a:xfrm>
            <a:off x="1690292" y="3032383"/>
            <a:ext cx="1080120" cy="67925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ym typeface="Wingdings"/>
              </a:rPr>
              <a:t>:)</a:t>
            </a:r>
            <a:endParaRPr lang="en-US" dirty="0" smtClean="0"/>
          </a:p>
        </p:txBody>
      </p:sp>
      <p:sp>
        <p:nvSpPr>
          <p:cNvPr id="27" name="Abgerundetes Rechteck 26"/>
          <p:cNvSpPr/>
          <p:nvPr/>
        </p:nvSpPr>
        <p:spPr>
          <a:xfrm>
            <a:off x="6273941" y="3032956"/>
            <a:ext cx="1080120" cy="679252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:(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370671" y="4635002"/>
            <a:ext cx="1302772" cy="5400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w risk</a:t>
            </a:r>
          </a:p>
        </p:txBody>
      </p:sp>
      <p:sp>
        <p:nvSpPr>
          <p:cNvPr id="28" name="Abgerundetes Rechteck 27"/>
          <p:cNvSpPr/>
          <p:nvPr/>
        </p:nvSpPr>
        <p:spPr>
          <a:xfrm>
            <a:off x="2610350" y="4619102"/>
            <a:ext cx="1368152" cy="5400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igh return</a:t>
            </a:r>
          </a:p>
        </p:txBody>
      </p:sp>
      <p:sp>
        <p:nvSpPr>
          <p:cNvPr id="29" name="Abgerundetes Rechteck 28"/>
          <p:cNvSpPr/>
          <p:nvPr/>
        </p:nvSpPr>
        <p:spPr>
          <a:xfrm>
            <a:off x="5132834" y="4628876"/>
            <a:ext cx="1302772" cy="54006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igh risk</a:t>
            </a:r>
          </a:p>
        </p:txBody>
      </p:sp>
      <p:sp>
        <p:nvSpPr>
          <p:cNvPr id="30" name="Abgerundetes Rechteck 29"/>
          <p:cNvSpPr/>
          <p:nvPr/>
        </p:nvSpPr>
        <p:spPr>
          <a:xfrm>
            <a:off x="7272300" y="4653136"/>
            <a:ext cx="1368152" cy="54006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w return</a:t>
            </a:r>
          </a:p>
        </p:txBody>
      </p:sp>
      <p:cxnSp>
        <p:nvCxnSpPr>
          <p:cNvPr id="20" name="Gerade Verbindung mit Pfeil 19"/>
          <p:cNvCxnSpPr/>
          <p:nvPr/>
        </p:nvCxnSpPr>
        <p:spPr>
          <a:xfrm flipH="1">
            <a:off x="1071863" y="3808008"/>
            <a:ext cx="572961" cy="499005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H="1">
            <a:off x="5700980" y="3869936"/>
            <a:ext cx="572961" cy="499005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/>
          <p:nvPr/>
        </p:nvCxnSpPr>
        <p:spPr>
          <a:xfrm>
            <a:off x="2771594" y="3810212"/>
            <a:ext cx="536138" cy="505414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/>
          <p:nvPr/>
        </p:nvCxnSpPr>
        <p:spPr>
          <a:xfrm>
            <a:off x="7420238" y="3822937"/>
            <a:ext cx="536138" cy="505414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Inhaltsplatzhalter 2"/>
          <p:cNvSpPr txBox="1">
            <a:spLocks/>
          </p:cNvSpPr>
          <p:nvPr/>
        </p:nvSpPr>
        <p:spPr>
          <a:xfrm rot="5400000">
            <a:off x="6075386" y="-983557"/>
            <a:ext cx="539599" cy="1310787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</p:txBody>
      </p:sp>
      <p:sp>
        <p:nvSpPr>
          <p:cNvPr id="7" name="Textfeld 6"/>
          <p:cNvSpPr txBox="1"/>
          <p:nvPr/>
        </p:nvSpPr>
        <p:spPr>
          <a:xfrm>
            <a:off x="4860031" y="5301208"/>
            <a:ext cx="3852169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2200"/>
              </a:lnSpc>
            </a:pPr>
            <a:r>
              <a:rPr lang="en-US" sz="1200" dirty="0" smtClean="0">
                <a:latin typeface="Andale Mono" charset="0"/>
                <a:ea typeface="Andale Mono" charset="0"/>
                <a:cs typeface="Andale Mono" charset="0"/>
              </a:rPr>
              <a:t>e.g.,</a:t>
            </a:r>
          </a:p>
          <a:p>
            <a:pPr algn="r">
              <a:lnSpc>
                <a:spcPts val="2200"/>
              </a:lnSpc>
            </a:pPr>
            <a:r>
              <a:rPr lang="en-US" sz="1200" dirty="0" err="1" smtClean="0">
                <a:latin typeface="Andale Mono" charset="0"/>
                <a:ea typeface="Andale Mono" charset="0"/>
                <a:cs typeface="Andale Mono" charset="0"/>
              </a:rPr>
              <a:t>Ganzach</a:t>
            </a:r>
            <a:r>
              <a:rPr lang="en-US" sz="1200" dirty="0" smtClean="0">
                <a:latin typeface="Andale Mono" charset="0"/>
                <a:ea typeface="Andale Mono" charset="0"/>
                <a:cs typeface="Andale Mono" charset="0"/>
              </a:rPr>
              <a:t> (2000)</a:t>
            </a:r>
          </a:p>
          <a:p>
            <a:pPr algn="r">
              <a:lnSpc>
                <a:spcPts val="2200"/>
              </a:lnSpc>
            </a:pPr>
            <a:r>
              <a:rPr lang="en-US" sz="1200" dirty="0" err="1" smtClean="0">
                <a:latin typeface="Andale Mono" charset="0"/>
                <a:ea typeface="Andale Mono" charset="0"/>
                <a:cs typeface="Andale Mono" charset="0"/>
              </a:rPr>
              <a:t>Shefrin</a:t>
            </a:r>
            <a:r>
              <a:rPr lang="en-US" sz="1200" dirty="0" smtClean="0">
                <a:latin typeface="Andale Mono" charset="0"/>
                <a:ea typeface="Andale Mono" charset="0"/>
                <a:cs typeface="Andale Mono" charset="0"/>
              </a:rPr>
              <a:t> (2001)</a:t>
            </a:r>
          </a:p>
          <a:p>
            <a:pPr algn="r">
              <a:lnSpc>
                <a:spcPts val="2200"/>
              </a:lnSpc>
            </a:pPr>
            <a:r>
              <a:rPr lang="en-US" sz="1200" dirty="0" err="1" smtClean="0">
                <a:latin typeface="Andale Mono" charset="0"/>
                <a:ea typeface="Andale Mono" charset="0"/>
                <a:cs typeface="Andale Mono" charset="0"/>
              </a:rPr>
              <a:t>Kempf</a:t>
            </a:r>
            <a:r>
              <a:rPr lang="en-US" sz="1200" dirty="0" smtClean="0">
                <a:latin typeface="Andale Mono" charset="0"/>
                <a:ea typeface="Andale Mono" charset="0"/>
                <a:cs typeface="Andale Mono" charset="0"/>
              </a:rPr>
              <a:t>, </a:t>
            </a:r>
            <a:r>
              <a:rPr lang="en-US" sz="1200" dirty="0" err="1" smtClean="0">
                <a:latin typeface="Andale Mono" charset="0"/>
                <a:ea typeface="Andale Mono" charset="0"/>
                <a:cs typeface="Andale Mono" charset="0"/>
              </a:rPr>
              <a:t>Merkle</a:t>
            </a:r>
            <a:r>
              <a:rPr lang="en-US" sz="1200" dirty="0" smtClean="0">
                <a:latin typeface="Andale Mono" charset="0"/>
                <a:ea typeface="Andale Mono" charset="0"/>
                <a:cs typeface="Andale Mono" charset="0"/>
              </a:rPr>
              <a:t> &amp; </a:t>
            </a:r>
            <a:r>
              <a:rPr lang="en-US" sz="1200" dirty="0" err="1" smtClean="0">
                <a:latin typeface="Andale Mono" charset="0"/>
                <a:ea typeface="Andale Mono" charset="0"/>
                <a:cs typeface="Andale Mono" charset="0"/>
              </a:rPr>
              <a:t>Niessen-Ruenzi</a:t>
            </a:r>
            <a:r>
              <a:rPr lang="en-US" sz="1200" dirty="0" smtClean="0">
                <a:latin typeface="Andale Mono" charset="0"/>
                <a:ea typeface="Andale Mono" charset="0"/>
                <a:cs typeface="Andale Mono" charset="0"/>
              </a:rPr>
              <a:t> (2014)</a:t>
            </a:r>
          </a:p>
        </p:txBody>
      </p:sp>
      <p:sp>
        <p:nvSpPr>
          <p:cNvPr id="32" name="Inhaltsplatzhalter 2"/>
          <p:cNvSpPr>
            <a:spLocks noGrp="1"/>
          </p:cNvSpPr>
          <p:nvPr>
            <p:ph idx="1"/>
          </p:nvPr>
        </p:nvSpPr>
        <p:spPr>
          <a:xfrm>
            <a:off x="4396297" y="2007084"/>
            <a:ext cx="175639" cy="521816"/>
          </a:xfrm>
        </p:spPr>
        <p:txBody>
          <a:bodyPr vert="vert270"/>
          <a:lstStyle/>
          <a:p>
            <a:pPr algn="ctr"/>
            <a:r>
              <a:rPr lang="en-US" sz="800" dirty="0" smtClean="0"/>
              <a:t>Risk</a:t>
            </a:r>
          </a:p>
        </p:txBody>
      </p:sp>
      <p:sp>
        <p:nvSpPr>
          <p:cNvPr id="33" name="Inhaltsplatzhalter 2"/>
          <p:cNvSpPr txBox="1">
            <a:spLocks/>
          </p:cNvSpPr>
          <p:nvPr/>
        </p:nvSpPr>
        <p:spPr>
          <a:xfrm rot="5400000">
            <a:off x="3663988" y="2317426"/>
            <a:ext cx="140926" cy="610270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800" dirty="0" smtClean="0"/>
              <a:t>Return</a:t>
            </a:r>
            <a:endParaRPr lang="en-US" sz="800" dirty="0"/>
          </a:p>
        </p:txBody>
      </p:sp>
      <p:grpSp>
        <p:nvGrpSpPr>
          <p:cNvPr id="44" name="Gruppierung 43"/>
          <p:cNvGrpSpPr/>
          <p:nvPr/>
        </p:nvGrpSpPr>
        <p:grpSpPr>
          <a:xfrm>
            <a:off x="3475875" y="1897907"/>
            <a:ext cx="2016483" cy="671972"/>
            <a:chOff x="935595" y="1953196"/>
            <a:chExt cx="3365145" cy="1371600"/>
          </a:xfrm>
        </p:grpSpPr>
        <p:pic>
          <p:nvPicPr>
            <p:cNvPr id="45" name="Bild 4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5595" y="1953208"/>
              <a:ext cx="1138400" cy="1367742"/>
            </a:xfrm>
            <a:prstGeom prst="rect">
              <a:avLst/>
            </a:prstGeom>
          </p:spPr>
        </p:pic>
        <p:cxnSp>
          <p:nvCxnSpPr>
            <p:cNvPr id="54" name="Gerade Verbindung 53"/>
            <p:cNvCxnSpPr/>
            <p:nvPr/>
          </p:nvCxnSpPr>
          <p:spPr>
            <a:xfrm>
              <a:off x="998899" y="2173684"/>
              <a:ext cx="0" cy="1000181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>
            <a:xfrm>
              <a:off x="998899" y="3173865"/>
              <a:ext cx="1088825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6" name="Bild 5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51082" y="1953196"/>
              <a:ext cx="1326258" cy="1371600"/>
            </a:xfrm>
            <a:prstGeom prst="rect">
              <a:avLst/>
            </a:prstGeom>
          </p:spPr>
        </p:pic>
        <p:cxnSp>
          <p:nvCxnSpPr>
            <p:cNvPr id="57" name="Gerade Verbindung 56"/>
            <p:cNvCxnSpPr/>
            <p:nvPr/>
          </p:nvCxnSpPr>
          <p:spPr>
            <a:xfrm>
              <a:off x="2989954" y="2181669"/>
              <a:ext cx="0" cy="103643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>
            <a:xfrm>
              <a:off x="2989954" y="3218104"/>
              <a:ext cx="131078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Inhaltsplatzhalter 2"/>
          <p:cNvSpPr txBox="1">
            <a:spLocks/>
          </p:cNvSpPr>
          <p:nvPr/>
        </p:nvSpPr>
        <p:spPr>
          <a:xfrm rot="5400000">
            <a:off x="4416326" y="697921"/>
            <a:ext cx="135581" cy="1978550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 smtClean="0"/>
              <a:t>Objective      ≠      Subjective</a:t>
            </a:r>
            <a:endParaRPr lang="en-US" sz="800" dirty="0"/>
          </a:p>
        </p:txBody>
      </p:sp>
      <p:sp>
        <p:nvSpPr>
          <p:cNvPr id="61" name="Inhaltsplatzhalter 2"/>
          <p:cNvSpPr txBox="1">
            <a:spLocks/>
          </p:cNvSpPr>
          <p:nvPr/>
        </p:nvSpPr>
        <p:spPr>
          <a:xfrm>
            <a:off x="3250351" y="2020390"/>
            <a:ext cx="175639" cy="521816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 smtClean="0"/>
              <a:t>Risk</a:t>
            </a:r>
          </a:p>
        </p:txBody>
      </p:sp>
      <p:sp>
        <p:nvSpPr>
          <p:cNvPr id="62" name="Inhaltsplatzhalter 2"/>
          <p:cNvSpPr txBox="1">
            <a:spLocks/>
          </p:cNvSpPr>
          <p:nvPr/>
        </p:nvSpPr>
        <p:spPr>
          <a:xfrm rot="5400000">
            <a:off x="4941573" y="2322739"/>
            <a:ext cx="140926" cy="610270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800" dirty="0" smtClean="0"/>
              <a:t>Return</a:t>
            </a:r>
            <a:endParaRPr lang="en-US" sz="800" dirty="0"/>
          </a:p>
        </p:txBody>
      </p:sp>
      <p:sp>
        <p:nvSpPr>
          <p:cNvPr id="9" name="Textfeld 8"/>
          <p:cNvSpPr txBox="1"/>
          <p:nvPr/>
        </p:nvSpPr>
        <p:spPr>
          <a:xfrm>
            <a:off x="3250351" y="3032383"/>
            <a:ext cx="2653797" cy="67925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200"/>
              </a:lnSpc>
            </a:pPr>
            <a:r>
              <a:rPr lang="de-DE" dirty="0" err="1" smtClean="0">
                <a:latin typeface="Andale Mono" charset="0"/>
                <a:ea typeface="Andale Mono" charset="0"/>
                <a:cs typeface="Andale Mono" charset="0"/>
              </a:rPr>
              <a:t>Affect</a:t>
            </a:r>
            <a:endParaRPr lang="de-DE" dirty="0">
              <a:latin typeface="Andale Mono" charset="0"/>
              <a:ea typeface="Andale Mono" charset="0"/>
              <a:cs typeface="Andale Mon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52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Risk assessment as confound?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5</a:t>
            </a:fld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Inhaltsplatzhalter 2"/>
          <p:cNvSpPr txBox="1">
            <a:spLocks/>
          </p:cNvSpPr>
          <p:nvPr/>
        </p:nvSpPr>
        <p:spPr>
          <a:xfrm rot="5400000">
            <a:off x="6075386" y="-983557"/>
            <a:ext cx="539599" cy="1310787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</p:txBody>
      </p:sp>
      <p:sp>
        <p:nvSpPr>
          <p:cNvPr id="19" name="Inhaltsplatzhalter 2"/>
          <p:cNvSpPr>
            <a:spLocks noGrp="1"/>
          </p:cNvSpPr>
          <p:nvPr>
            <p:ph idx="1"/>
          </p:nvPr>
        </p:nvSpPr>
        <p:spPr>
          <a:xfrm>
            <a:off x="432000" y="1520826"/>
            <a:ext cx="8280200" cy="4716462"/>
          </a:xfrm>
        </p:spPr>
        <p:txBody>
          <a:bodyPr/>
          <a:lstStyle/>
          <a:p>
            <a:pPr marL="522900" lvl="1" indent="-342900">
              <a:buFont typeface="+mj-lt"/>
              <a:buAutoNum type="arabicParenBoth"/>
            </a:pPr>
            <a:endParaRPr lang="en-US" dirty="0"/>
          </a:p>
          <a:p>
            <a:pPr lvl="1" indent="0">
              <a:buNone/>
            </a:pPr>
            <a:r>
              <a:rPr lang="en-US" dirty="0" smtClean="0"/>
              <a:t>Typical questions:</a:t>
            </a:r>
          </a:p>
          <a:p>
            <a:pPr lvl="1" indent="0">
              <a:buNone/>
            </a:pPr>
            <a:endParaRPr lang="en-US" dirty="0" smtClean="0"/>
          </a:p>
          <a:p>
            <a:pPr lvl="1" indent="0">
              <a:buNone/>
            </a:pPr>
            <a:endParaRPr lang="en-US" dirty="0" smtClean="0"/>
          </a:p>
          <a:p>
            <a:pPr lvl="1" indent="0">
              <a:buNone/>
            </a:pPr>
            <a:r>
              <a:rPr lang="en-US" dirty="0" smtClean="0"/>
              <a:t>How </a:t>
            </a:r>
            <a:r>
              <a:rPr lang="en-US" sz="2500" b="1" spc="300" dirty="0" smtClean="0"/>
              <a:t>RISKY</a:t>
            </a:r>
            <a:r>
              <a:rPr lang="en-US" dirty="0" smtClean="0"/>
              <a:t> is it to invest in Index X.</a:t>
            </a:r>
          </a:p>
          <a:p>
            <a:pPr lvl="1" indent="0">
              <a:buNone/>
            </a:pPr>
            <a:endParaRPr lang="en-US" dirty="0"/>
          </a:p>
          <a:p>
            <a:pPr lvl="1" indent="0">
              <a:buNone/>
            </a:pPr>
            <a:endParaRPr lang="en-US" dirty="0" smtClean="0"/>
          </a:p>
          <a:p>
            <a:pPr lvl="1" indent="0">
              <a:buNone/>
            </a:pPr>
            <a:endParaRPr lang="en-US" dirty="0"/>
          </a:p>
          <a:p>
            <a:pPr lvl="1" indent="0">
              <a:buNone/>
            </a:pPr>
            <a:endParaRPr lang="en-US" dirty="0" smtClean="0"/>
          </a:p>
          <a:p>
            <a:pPr lvl="1" indent="0">
              <a:buNone/>
            </a:pPr>
            <a:endParaRPr lang="en-US" dirty="0" smtClean="0"/>
          </a:p>
          <a:p>
            <a:pPr lvl="1" indent="0">
              <a:buNone/>
            </a:pPr>
            <a:r>
              <a:rPr lang="en-US" dirty="0" smtClean="0"/>
              <a:t>Far below average				   Far above average</a:t>
            </a:r>
          </a:p>
          <a:p>
            <a:pPr lvl="1" indent="0">
              <a:buNone/>
            </a:pPr>
            <a:r>
              <a:rPr lang="en-US" dirty="0" smtClean="0"/>
              <a:t>	</a:t>
            </a:r>
          </a:p>
          <a:p>
            <a:pPr lvl="1" indent="0">
              <a:buNone/>
            </a:pPr>
            <a:endParaRPr lang="en-US" dirty="0" smtClean="0"/>
          </a:p>
        </p:txBody>
      </p:sp>
      <p:sp>
        <p:nvSpPr>
          <p:cNvPr id="3" name="Oval 2"/>
          <p:cNvSpPr/>
          <p:nvPr/>
        </p:nvSpPr>
        <p:spPr>
          <a:xfrm>
            <a:off x="3311860" y="4257092"/>
            <a:ext cx="324036" cy="32403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Oval 20"/>
          <p:cNvSpPr/>
          <p:nvPr/>
        </p:nvSpPr>
        <p:spPr>
          <a:xfrm>
            <a:off x="3923928" y="4257092"/>
            <a:ext cx="324036" cy="32403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Oval 21"/>
          <p:cNvSpPr/>
          <p:nvPr/>
        </p:nvSpPr>
        <p:spPr>
          <a:xfrm>
            <a:off x="4535996" y="4257092"/>
            <a:ext cx="324036" cy="32403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3" name="Oval 22"/>
          <p:cNvSpPr/>
          <p:nvPr/>
        </p:nvSpPr>
        <p:spPr>
          <a:xfrm>
            <a:off x="5148064" y="4257092"/>
            <a:ext cx="324036" cy="32403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Oval 23"/>
          <p:cNvSpPr/>
          <p:nvPr/>
        </p:nvSpPr>
        <p:spPr>
          <a:xfrm>
            <a:off x="5760132" y="4257092"/>
            <a:ext cx="324036" cy="32403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Textfeld 14"/>
          <p:cNvSpPr txBox="1"/>
          <p:nvPr/>
        </p:nvSpPr>
        <p:spPr>
          <a:xfrm>
            <a:off x="4860031" y="5625244"/>
            <a:ext cx="3852169" cy="5903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2200"/>
              </a:lnSpc>
            </a:pPr>
            <a:r>
              <a:rPr lang="en-US" sz="1200" dirty="0" smtClean="0">
                <a:latin typeface="Andale Mono" charset="0"/>
                <a:ea typeface="Andale Mono" charset="0"/>
                <a:cs typeface="Andale Mono" charset="0"/>
              </a:rPr>
              <a:t>e.g.,</a:t>
            </a:r>
          </a:p>
          <a:p>
            <a:pPr algn="r">
              <a:lnSpc>
                <a:spcPts val="2200"/>
              </a:lnSpc>
            </a:pPr>
            <a:r>
              <a:rPr lang="en-US" sz="1200" dirty="0" err="1" smtClean="0">
                <a:latin typeface="Andale Mono" charset="0"/>
                <a:ea typeface="Andale Mono" charset="0"/>
                <a:cs typeface="Andale Mono" charset="0"/>
              </a:rPr>
              <a:t>Kempf</a:t>
            </a:r>
            <a:r>
              <a:rPr lang="en-US" sz="1200" dirty="0" smtClean="0">
                <a:latin typeface="Andale Mono" charset="0"/>
                <a:ea typeface="Andale Mono" charset="0"/>
                <a:cs typeface="Andale Mono" charset="0"/>
              </a:rPr>
              <a:t>, </a:t>
            </a:r>
            <a:r>
              <a:rPr lang="en-US" sz="1200" dirty="0" err="1" smtClean="0">
                <a:latin typeface="Andale Mono" charset="0"/>
                <a:ea typeface="Andale Mono" charset="0"/>
                <a:cs typeface="Andale Mono" charset="0"/>
              </a:rPr>
              <a:t>Merkle</a:t>
            </a:r>
            <a:r>
              <a:rPr lang="en-US" sz="1200" dirty="0" smtClean="0">
                <a:latin typeface="Andale Mono" charset="0"/>
                <a:ea typeface="Andale Mono" charset="0"/>
                <a:cs typeface="Andale Mono" charset="0"/>
              </a:rPr>
              <a:t> &amp; </a:t>
            </a:r>
            <a:r>
              <a:rPr lang="en-US" sz="1200" dirty="0" err="1" smtClean="0">
                <a:latin typeface="Andale Mono" charset="0"/>
                <a:ea typeface="Andale Mono" charset="0"/>
                <a:cs typeface="Andale Mono" charset="0"/>
              </a:rPr>
              <a:t>Niessen-Ruenzi</a:t>
            </a:r>
            <a:r>
              <a:rPr lang="en-US" sz="1200" dirty="0" smtClean="0">
                <a:latin typeface="Andale Mono" charset="0"/>
                <a:ea typeface="Andale Mono" charset="0"/>
                <a:cs typeface="Andale Mono" charset="0"/>
              </a:rPr>
              <a:t> (2014)</a:t>
            </a:r>
          </a:p>
        </p:txBody>
      </p:sp>
    </p:spTree>
    <p:extLst>
      <p:ext uri="{BB962C8B-B14F-4D97-AF65-F5344CB8AC3E}">
        <p14:creationId xmlns:p14="http://schemas.microsoft.com/office/powerpoint/2010/main" val="909535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Does risk mean variance?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6</a:t>
            </a:fld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Inhaltsplatzhalter 2"/>
          <p:cNvSpPr txBox="1">
            <a:spLocks/>
          </p:cNvSpPr>
          <p:nvPr/>
        </p:nvSpPr>
        <p:spPr>
          <a:xfrm rot="5400000">
            <a:off x="2393987" y="-3249973"/>
            <a:ext cx="539599" cy="3096346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mtClean="0"/>
              <a:t>Objective</a:t>
            </a:r>
            <a:endParaRPr lang="en-US" dirty="0"/>
          </a:p>
        </p:txBody>
      </p:sp>
      <p:sp>
        <p:nvSpPr>
          <p:cNvPr id="52" name="Inhaltsplatzhalter 2"/>
          <p:cNvSpPr txBox="1">
            <a:spLocks/>
          </p:cNvSpPr>
          <p:nvPr/>
        </p:nvSpPr>
        <p:spPr>
          <a:xfrm rot="5400000">
            <a:off x="6075386" y="-983557"/>
            <a:ext cx="539599" cy="1310787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432000" y="1520826"/>
            <a:ext cx="2915864" cy="3069804"/>
          </a:xfrm>
        </p:spPr>
        <p:txBody>
          <a:bodyPr/>
          <a:lstStyle/>
          <a:p>
            <a:pPr marL="465750" lvl="1" indent="-285750">
              <a:lnSpc>
                <a:spcPct val="150000"/>
              </a:lnSpc>
            </a:pPr>
            <a:endParaRPr lang="en-US" sz="1600" dirty="0"/>
          </a:p>
          <a:p>
            <a:pPr marL="465750" lvl="1" indent="-285750">
              <a:lnSpc>
                <a:spcPct val="150000"/>
              </a:lnSpc>
            </a:pPr>
            <a:r>
              <a:rPr lang="en-US" sz="1600" dirty="0"/>
              <a:t>People relate to loss potential when they judge riskiness (Duxbury &amp; Summers, 2004; </a:t>
            </a:r>
            <a:r>
              <a:rPr lang="en-US" sz="1600" dirty="0" err="1"/>
              <a:t>Sachse</a:t>
            </a:r>
            <a:r>
              <a:rPr lang="en-US" sz="1600" dirty="0"/>
              <a:t>, </a:t>
            </a:r>
            <a:r>
              <a:rPr lang="en-US" sz="1600" dirty="0" err="1"/>
              <a:t>Jungermann</a:t>
            </a:r>
            <a:r>
              <a:rPr lang="en-US" sz="1600" dirty="0"/>
              <a:t> &amp; Belting, 2012</a:t>
            </a:r>
            <a:r>
              <a:rPr lang="en-US" sz="1600" dirty="0" smtClean="0"/>
              <a:t>)</a:t>
            </a:r>
          </a:p>
          <a:p>
            <a:pPr marL="465750" lvl="1" indent="-285750">
              <a:lnSpc>
                <a:spcPct val="150000"/>
              </a:lnSpc>
            </a:pPr>
            <a:endParaRPr lang="en-US" sz="1600" dirty="0" smtClean="0"/>
          </a:p>
          <a:p>
            <a:pPr marL="465750" lvl="1" indent="-285750">
              <a:lnSpc>
                <a:spcPct val="150000"/>
              </a:lnSpc>
            </a:pPr>
            <a:endParaRPr lang="en-US" sz="1600" dirty="0" smtClean="0"/>
          </a:p>
          <a:p>
            <a:pPr marL="465750" lvl="1" indent="-285750">
              <a:lnSpc>
                <a:spcPct val="150000"/>
              </a:lnSpc>
            </a:pPr>
            <a:endParaRPr lang="en-US" sz="1600" dirty="0" smtClean="0"/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892" y="1863404"/>
            <a:ext cx="5308080" cy="2637136"/>
          </a:xfrm>
          <a:prstGeom prst="rect">
            <a:avLst/>
          </a:prstGeom>
        </p:spPr>
      </p:pic>
      <p:sp>
        <p:nvSpPr>
          <p:cNvPr id="11" name="Inhaltsplatzhalter 2"/>
          <p:cNvSpPr txBox="1">
            <a:spLocks/>
          </p:cNvSpPr>
          <p:nvPr/>
        </p:nvSpPr>
        <p:spPr>
          <a:xfrm>
            <a:off x="432000" y="4950707"/>
            <a:ext cx="8280200" cy="1286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65750" lvl="1" indent="-285750">
              <a:lnSpc>
                <a:spcPct val="150000"/>
              </a:lnSpc>
            </a:pPr>
            <a:r>
              <a:rPr lang="en-US" dirty="0"/>
              <a:t>Subjective risk perception varies between individuals  (Mohr, </a:t>
            </a:r>
            <a:r>
              <a:rPr lang="en-US" dirty="0" err="1"/>
              <a:t>Biele</a:t>
            </a:r>
            <a:r>
              <a:rPr lang="en-US" dirty="0"/>
              <a:t> &amp; </a:t>
            </a:r>
            <a:r>
              <a:rPr lang="en-US" dirty="0" err="1"/>
              <a:t>Krugel</a:t>
            </a:r>
            <a:r>
              <a:rPr lang="en-US" dirty="0"/>
              <a:t>, 2010)</a:t>
            </a:r>
          </a:p>
          <a:p>
            <a:pPr lvl="1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Oval 2"/>
          <p:cNvSpPr/>
          <p:nvPr/>
        </p:nvSpPr>
        <p:spPr>
          <a:xfrm>
            <a:off x="5544108" y="2710244"/>
            <a:ext cx="576064" cy="214700"/>
          </a:xfrm>
          <a:prstGeom prst="ellipse">
            <a:avLst/>
          </a:prstGeom>
          <a:solidFill>
            <a:schemeClr val="accent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Oval 11"/>
          <p:cNvSpPr/>
          <p:nvPr/>
        </p:nvSpPr>
        <p:spPr>
          <a:xfrm>
            <a:off x="6018244" y="3492211"/>
            <a:ext cx="1283976" cy="270776"/>
          </a:xfrm>
          <a:prstGeom prst="ellipse">
            <a:avLst/>
          </a:prstGeom>
          <a:solidFill>
            <a:schemeClr val="accent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1063151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Study overview.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7</a:t>
            </a:fld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Inhaltsplatzhalter 2"/>
          <p:cNvSpPr txBox="1">
            <a:spLocks/>
          </p:cNvSpPr>
          <p:nvPr/>
        </p:nvSpPr>
        <p:spPr>
          <a:xfrm rot="5400000">
            <a:off x="2393987" y="-3249973"/>
            <a:ext cx="539599" cy="3096346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mtClean="0"/>
              <a:t>Objective</a:t>
            </a:r>
            <a:endParaRPr lang="en-US" dirty="0"/>
          </a:p>
        </p:txBody>
      </p:sp>
      <p:sp>
        <p:nvSpPr>
          <p:cNvPr id="52" name="Inhaltsplatzhalter 2"/>
          <p:cNvSpPr txBox="1">
            <a:spLocks/>
          </p:cNvSpPr>
          <p:nvPr/>
        </p:nvSpPr>
        <p:spPr>
          <a:xfrm rot="5400000">
            <a:off x="6075386" y="-983557"/>
            <a:ext cx="539599" cy="1310787"/>
          </a:xfrm>
          <a:prstGeom prst="rect">
            <a:avLst/>
          </a:prstGeom>
        </p:spPr>
        <p:txBody>
          <a:bodyPr vert="vert270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1pPr>
            <a:lvl2pPr marL="18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2pPr>
            <a:lvl3pPr marL="36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3pPr>
            <a:lvl4pPr marL="54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4pPr>
            <a:lvl5pPr marL="720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ndale Mono"/>
                <a:ea typeface="+mn-ea"/>
                <a:cs typeface="Andale Mono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432000" y="1520826"/>
            <a:ext cx="8280200" cy="4716462"/>
          </a:xfrm>
        </p:spPr>
        <p:txBody>
          <a:bodyPr/>
          <a:lstStyle/>
          <a:p>
            <a:pPr lvl="1" indent="0">
              <a:lnSpc>
                <a:spcPct val="150000"/>
              </a:lnSpc>
              <a:buNone/>
            </a:pPr>
            <a:endParaRPr lang="en-US" b="1" dirty="0" smtClean="0"/>
          </a:p>
          <a:p>
            <a:pPr lvl="1" indent="0">
              <a:lnSpc>
                <a:spcPct val="150000"/>
              </a:lnSpc>
              <a:buNone/>
            </a:pPr>
            <a:r>
              <a:rPr lang="en-US" b="1" dirty="0" smtClean="0"/>
              <a:t>Study 1:</a:t>
            </a:r>
          </a:p>
          <a:p>
            <a:pPr lvl="1" indent="0">
              <a:lnSpc>
                <a:spcPct val="150000"/>
              </a:lnSpc>
              <a:buNone/>
            </a:pPr>
            <a:endParaRPr lang="en-US" dirty="0"/>
          </a:p>
          <a:p>
            <a:pPr lvl="1" indent="0">
              <a:lnSpc>
                <a:spcPct val="150000"/>
              </a:lnSpc>
              <a:buNone/>
            </a:pPr>
            <a:r>
              <a:rPr lang="en-US" dirty="0" smtClean="0"/>
              <a:t>How should we assess “risk” when we are interested in measuring risk-as-variance?</a:t>
            </a:r>
          </a:p>
          <a:p>
            <a:pPr lvl="1" indent="0">
              <a:lnSpc>
                <a:spcPct val="150000"/>
              </a:lnSpc>
              <a:buNone/>
            </a:pPr>
            <a:endParaRPr lang="en-US" dirty="0" smtClean="0"/>
          </a:p>
          <a:p>
            <a:pPr lvl="1" indent="0">
              <a:lnSpc>
                <a:spcPct val="150000"/>
              </a:lnSpc>
              <a:buNone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udy 2</a:t>
            </a:r>
          </a:p>
          <a:p>
            <a:pPr lvl="1" indent="0">
              <a:lnSpc>
                <a:spcPct val="150000"/>
              </a:lnSpc>
              <a:buNone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plication of the affect heuristic.</a:t>
            </a:r>
          </a:p>
          <a:p>
            <a:pPr lvl="1" indent="0">
              <a:lnSpc>
                <a:spcPct val="150000"/>
              </a:lnSpc>
              <a:buNone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64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Experimen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1799" y="1520826"/>
            <a:ext cx="7812609" cy="4716462"/>
          </a:xfrm>
        </p:spPr>
        <p:txBody>
          <a:bodyPr/>
          <a:lstStyle/>
          <a:p>
            <a:pPr>
              <a:lnSpc>
                <a:spcPct val="100000"/>
              </a:lnSpc>
            </a:pPr>
            <a:endParaRPr lang="en-US" dirty="0" smtClean="0"/>
          </a:p>
          <a:p>
            <a:pPr>
              <a:lnSpc>
                <a:spcPct val="100000"/>
              </a:lnSpc>
            </a:pPr>
            <a:r>
              <a:rPr lang="en-US" b="1" dirty="0" smtClean="0"/>
              <a:t>People judged 19 return courses :</a:t>
            </a:r>
          </a:p>
          <a:p>
            <a:pPr>
              <a:lnSpc>
                <a:spcPct val="100000"/>
              </a:lnSpc>
            </a:pPr>
            <a:endParaRPr lang="en-US" b="1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8</a:t>
            </a:fld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Abgerundetes Rechteck 10"/>
          <p:cNvSpPr/>
          <p:nvPr/>
        </p:nvSpPr>
        <p:spPr>
          <a:xfrm>
            <a:off x="7524328" y="3609020"/>
            <a:ext cx="1404156" cy="154298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Variance measures</a:t>
            </a:r>
          </a:p>
        </p:txBody>
      </p:sp>
      <p:pic>
        <p:nvPicPr>
          <p:cNvPr id="20" name="Bild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17" y="2817240"/>
            <a:ext cx="4619999" cy="2772000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5148064" y="2891996"/>
            <a:ext cx="2736304" cy="323730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lnSpc>
                <a:spcPct val="100000"/>
              </a:lnSpc>
              <a:buFont typeface="Arial" charset="0"/>
              <a:buChar char="•"/>
            </a:pPr>
            <a:r>
              <a:rPr lang="en-US" b="1" dirty="0">
                <a:latin typeface="Andale Mono" charset="0"/>
                <a:ea typeface="Andale Mono" charset="0"/>
                <a:cs typeface="Andale Mono" charset="0"/>
              </a:rPr>
              <a:t>Risk	</a:t>
            </a:r>
          </a:p>
          <a:p>
            <a:pPr marL="285750" indent="-285750">
              <a:lnSpc>
                <a:spcPct val="100000"/>
              </a:lnSpc>
              <a:buFont typeface="Arial" charset="0"/>
              <a:buChar char="•"/>
            </a:pPr>
            <a:endParaRPr 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Andale Mono" charset="0"/>
              <a:ea typeface="Andale Mono" charset="0"/>
              <a:cs typeface="Andale Mono" charset="0"/>
            </a:endParaRPr>
          </a:p>
          <a:p>
            <a:pPr marL="285750" indent="-285750">
              <a:lnSpc>
                <a:spcPct val="100000"/>
              </a:lnSpc>
              <a:buFont typeface="Arial" charset="0"/>
              <a:buChar char="•"/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ndale Mono" charset="0"/>
              <a:ea typeface="Andale Mono" charset="0"/>
              <a:cs typeface="Andale Mono" charset="0"/>
            </a:endParaRPr>
          </a:p>
          <a:p>
            <a:pPr marL="285750" indent="-285750">
              <a:lnSpc>
                <a:spcPct val="100000"/>
              </a:lnSpc>
              <a:buFont typeface="Arial" charset="0"/>
              <a:buChar char="•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ndale Mono" charset="0"/>
                <a:ea typeface="Andale Mono" charset="0"/>
                <a:cs typeface="Andale Mono" charset="0"/>
              </a:rPr>
              <a:t>Predictability</a:t>
            </a:r>
          </a:p>
          <a:p>
            <a:pPr marL="285750" indent="-285750">
              <a:lnSpc>
                <a:spcPct val="100000"/>
              </a:lnSpc>
              <a:buFont typeface="Arial" charset="0"/>
              <a:buChar char="•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ndale Mono" charset="0"/>
                <a:ea typeface="Andale Mono" charset="0"/>
                <a:cs typeface="Andale Mono" charset="0"/>
              </a:rPr>
              <a:t>Variability</a:t>
            </a:r>
          </a:p>
          <a:p>
            <a:pPr marL="285750" indent="-285750">
              <a:lnSpc>
                <a:spcPct val="100000"/>
              </a:lnSpc>
              <a:buFont typeface="Arial" charset="0"/>
              <a:buChar char="•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ndale Mono" charset="0"/>
                <a:ea typeface="Andale Mono" charset="0"/>
                <a:cs typeface="Andale Mono" charset="0"/>
              </a:rPr>
              <a:t>Fluctuation</a:t>
            </a:r>
          </a:p>
          <a:p>
            <a:pPr marL="285750" indent="-285750">
              <a:lnSpc>
                <a:spcPct val="100000"/>
              </a:lnSpc>
              <a:buFont typeface="Arial" charset="0"/>
              <a:buChar char="•"/>
            </a:pPr>
            <a:endParaRPr 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Andale Mono" charset="0"/>
              <a:ea typeface="Andale Mono" charset="0"/>
              <a:cs typeface="Andale Mono" charset="0"/>
            </a:endParaRPr>
          </a:p>
          <a:p>
            <a:pPr marL="285750" indent="-285750">
              <a:lnSpc>
                <a:spcPct val="100000"/>
              </a:lnSpc>
              <a:buFont typeface="Arial" charset="0"/>
              <a:buChar char="•"/>
            </a:pP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ndale Mono" charset="0"/>
              <a:ea typeface="Andale Mono" charset="0"/>
              <a:cs typeface="Andale Mono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96016" y="2996420"/>
            <a:ext cx="335782" cy="2016756"/>
          </a:xfrm>
          <a:prstGeom prst="rect">
            <a:avLst/>
          </a:prstGeom>
          <a:solidFill>
            <a:schemeClr val="bg1"/>
          </a:solidFill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ts val="2200"/>
              </a:lnSpc>
            </a:pPr>
            <a:r>
              <a:rPr lang="de-DE" sz="1000" dirty="0" smtClean="0">
                <a:latin typeface="Andale Mono" charset="0"/>
                <a:ea typeface="Andale Mono" charset="0"/>
                <a:cs typeface="Andale Mono" charset="0"/>
              </a:rPr>
              <a:t>Return after 1 </a:t>
            </a:r>
            <a:r>
              <a:rPr lang="de-DE" sz="1000" dirty="0" err="1" smtClean="0">
                <a:latin typeface="Andale Mono" charset="0"/>
                <a:ea typeface="Andale Mono" charset="0"/>
                <a:cs typeface="Andale Mono" charset="0"/>
              </a:rPr>
              <a:t>year</a:t>
            </a:r>
            <a:r>
              <a:rPr lang="de-DE" sz="1000" dirty="0" smtClean="0">
                <a:latin typeface="Andale Mono" charset="0"/>
                <a:ea typeface="Andale Mono" charset="0"/>
                <a:cs typeface="Andale Mono" charset="0"/>
              </a:rPr>
              <a:t> in %</a:t>
            </a:r>
            <a:endParaRPr lang="de-DE" sz="1000" dirty="0">
              <a:latin typeface="Andale Mono" charset="0"/>
              <a:ea typeface="Andale Mono" charset="0"/>
              <a:cs typeface="Andale Mon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609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Experimen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1799" y="1520826"/>
            <a:ext cx="7812609" cy="4716462"/>
          </a:xfrm>
        </p:spPr>
        <p:txBody>
          <a:bodyPr anchor="ctr"/>
          <a:lstStyle/>
          <a:p>
            <a:pPr marL="285750" indent="-285750">
              <a:lnSpc>
                <a:spcPct val="250000"/>
              </a:lnSpc>
              <a:buFont typeface="Arial" charset="0"/>
              <a:buChar char="•"/>
            </a:pPr>
            <a:r>
              <a:rPr lang="en-US" b="1" dirty="0" smtClean="0"/>
              <a:t>Online study (</a:t>
            </a:r>
            <a:r>
              <a:rPr lang="en-US" b="1" dirty="0" err="1" smtClean="0"/>
              <a:t>Clickworker</a:t>
            </a:r>
            <a:r>
              <a:rPr lang="en-US" b="1" dirty="0" smtClean="0"/>
              <a:t>)</a:t>
            </a:r>
          </a:p>
          <a:p>
            <a:pPr marL="285750" indent="-285750">
              <a:lnSpc>
                <a:spcPct val="250000"/>
              </a:lnSpc>
              <a:buFont typeface="Arial" charset="0"/>
              <a:buChar char="•"/>
            </a:pPr>
            <a:r>
              <a:rPr lang="en-US" b="1" dirty="0" smtClean="0"/>
              <a:t>100 </a:t>
            </a:r>
            <a:r>
              <a:rPr lang="en-US" b="1" dirty="0"/>
              <a:t>G</a:t>
            </a:r>
            <a:r>
              <a:rPr lang="en-US" b="1" dirty="0" smtClean="0"/>
              <a:t>erman speaking participants (7 excluded)</a:t>
            </a:r>
          </a:p>
          <a:p>
            <a:pPr marL="285750" indent="-285750">
              <a:lnSpc>
                <a:spcPct val="250000"/>
              </a:lnSpc>
              <a:buFont typeface="Arial" charset="0"/>
              <a:buChar char="•"/>
            </a:pPr>
            <a:r>
              <a:rPr lang="en-US" b="1" dirty="0" smtClean="0"/>
              <a:t>Reimbursed for participation (4.50 Euros)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/>
              <a:t>RR &amp; Affect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1826-9277-4232-A2B5-17D05DFC7392}" type="slidenum">
              <a:rPr lang="en-US" smtClean="0"/>
              <a:pPr/>
              <a:t>9</a:t>
            </a:fld>
            <a:endParaRPr lang="en-US" dirty="0"/>
          </a:p>
        </p:txBody>
      </p:sp>
      <p:cxnSp>
        <p:nvCxnSpPr>
          <p:cNvPr id="6" name="Gerade Verbindung 5"/>
          <p:cNvCxnSpPr/>
          <p:nvPr/>
        </p:nvCxnSpPr>
        <p:spPr>
          <a:xfrm>
            <a:off x="431800" y="1520825"/>
            <a:ext cx="8280400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4049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Larissa">
  <a:themeElements>
    <a:clrScheme name="Uni Basel">
      <a:dk1>
        <a:srgbClr val="000000"/>
      </a:dk1>
      <a:lt1>
        <a:srgbClr val="FFFFFF"/>
      </a:lt1>
      <a:dk2>
        <a:srgbClr val="006E6E"/>
      </a:dk2>
      <a:lt2>
        <a:srgbClr val="BEC3C8"/>
      </a:lt2>
      <a:accent1>
        <a:srgbClr val="A5D7D2"/>
      </a:accent1>
      <a:accent2>
        <a:srgbClr val="1EA5A5"/>
      </a:accent2>
      <a:accent3>
        <a:srgbClr val="2D373C"/>
      </a:accent3>
      <a:accent4>
        <a:srgbClr val="8C9196"/>
      </a:accent4>
      <a:accent5>
        <a:srgbClr val="D20537"/>
      </a:accent5>
      <a:accent6>
        <a:srgbClr val="EB829B"/>
      </a:accent6>
      <a:hlink>
        <a:srgbClr val="000000"/>
      </a:hlink>
      <a:folHlink>
        <a:srgbClr val="000000"/>
      </a:folHlink>
    </a:clrScheme>
    <a:fontScheme name="Uni Base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2200"/>
          </a:lnSpc>
          <a:defRPr dirty="0"/>
        </a:defPPr>
      </a:lstStyle>
    </a:txDef>
  </a:objectDefaults>
  <a:extraClrSchemeLst>
    <a:extraClrScheme>
      <a:clrScheme name="Uni Basel">
        <a:dk1>
          <a:srgbClr val="000000"/>
        </a:dk1>
        <a:lt1>
          <a:srgbClr val="FFFFFF"/>
        </a:lt1>
        <a:dk2>
          <a:srgbClr val="006E6E"/>
        </a:dk2>
        <a:lt2>
          <a:srgbClr val="BEC3C8"/>
        </a:lt2>
        <a:accent1>
          <a:srgbClr val="A5D7D2"/>
        </a:accent1>
        <a:accent2>
          <a:srgbClr val="1EA5A5"/>
        </a:accent2>
        <a:accent3>
          <a:srgbClr val="2D373C"/>
        </a:accent3>
        <a:accent4>
          <a:srgbClr val="8C9196"/>
        </a:accent4>
        <a:accent5>
          <a:srgbClr val="D20537"/>
        </a:accent5>
        <a:accent6>
          <a:srgbClr val="EB829B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97</Words>
  <Application>Microsoft Office PowerPoint</Application>
  <PresentationFormat>Bildschirmpräsentation (4:3)</PresentationFormat>
  <Paragraphs>406</Paragraphs>
  <Slides>34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40" baseType="lpstr">
      <vt:lpstr>Andale Mono</vt:lpstr>
      <vt:lpstr>Arial</vt:lpstr>
      <vt:lpstr>Calibri</vt:lpstr>
      <vt:lpstr>Symbol</vt:lpstr>
      <vt:lpstr>Wingdings</vt:lpstr>
      <vt:lpstr>Larissa</vt:lpstr>
      <vt:lpstr>Risk-Return judgments &amp; the affect heuristic</vt:lpstr>
      <vt:lpstr>Riskier investment options offer higher returns.</vt:lpstr>
      <vt:lpstr>People assume that risks and returns are negatively correlated.</vt:lpstr>
      <vt:lpstr>Affect heuristic as explanation for biased risk-return judgments.</vt:lpstr>
      <vt:lpstr>Risk assessment as confound?</vt:lpstr>
      <vt:lpstr>Does risk mean variance?</vt:lpstr>
      <vt:lpstr>Study overview.</vt:lpstr>
      <vt:lpstr>Experiment</vt:lpstr>
      <vt:lpstr>Experiment</vt:lpstr>
      <vt:lpstr>Results</vt:lpstr>
      <vt:lpstr>Ask for fluctuation if you want to measure variance.</vt:lpstr>
      <vt:lpstr>Ask for fluctuation if you want to measure variance.</vt:lpstr>
      <vt:lpstr>Interim summary.</vt:lpstr>
      <vt:lpstr>Study 2</vt:lpstr>
      <vt:lpstr>Experimental Design</vt:lpstr>
      <vt:lpstr>Objective risk return correlation</vt:lpstr>
      <vt:lpstr>Experimental Design</vt:lpstr>
      <vt:lpstr>Experimental Design</vt:lpstr>
      <vt:lpstr>Half of the people saw graphs. </vt:lpstr>
      <vt:lpstr>Experimental Design</vt:lpstr>
      <vt:lpstr>Experiment</vt:lpstr>
      <vt:lpstr>Results: Replication of Study 1</vt:lpstr>
      <vt:lpstr>Results: Subjective Risk-Return correlations</vt:lpstr>
      <vt:lpstr>Results: Subjective Risk-Return correlations</vt:lpstr>
      <vt:lpstr>Results: Subjective Risk-Return correlations</vt:lpstr>
      <vt:lpstr>Affect as explanation for the negative risk-return correlations under uncertainty.</vt:lpstr>
      <vt:lpstr>Summary</vt:lpstr>
      <vt:lpstr>Spoiler</vt:lpstr>
      <vt:lpstr>Example</vt:lpstr>
      <vt:lpstr>Return - Affect</vt:lpstr>
      <vt:lpstr>Risk - Affect</vt:lpstr>
      <vt:lpstr>What does it mean for you that a stock has “large risk“? </vt:lpstr>
      <vt:lpstr>LossObjective explains risksubjective but not fluctuationsubjective.</vt:lpstr>
      <vt:lpstr>PowerPoint-Präsentation</vt:lpstr>
    </vt:vector>
  </TitlesOfParts>
  <Company>Mediavis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Yves Baumgartner</dc:creator>
  <cp:lastModifiedBy>Jana Jarecki</cp:lastModifiedBy>
  <cp:revision>801</cp:revision>
  <cp:lastPrinted>2017-08-21T07:29:30Z</cp:lastPrinted>
  <dcterms:created xsi:type="dcterms:W3CDTF">2014-12-17T09:53:42Z</dcterms:created>
  <dcterms:modified xsi:type="dcterms:W3CDTF">2017-11-21T15:13:01Z</dcterms:modified>
</cp:coreProperties>
</file>